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11"/>
  </p:notesMasterIdLst>
  <p:sldIdLst>
    <p:sldId id="262" r:id="rId6"/>
    <p:sldId id="276" r:id="rId7"/>
    <p:sldId id="277" r:id="rId8"/>
    <p:sldId id="278" r:id="rId9"/>
    <p:sldId id="279" r:id="rId10"/>
  </p:sldIdLst>
  <p:sldSz cx="12192000" cy="6858000"/>
  <p:notesSz cx="6858000" cy="9144000"/>
  <p:custDataLst>
    <p:tags r:id="rId12"/>
  </p:custDataLst>
  <p:defaultTextStyle>
    <a:defPPr lvl="0">
      <a:defRPr lang="nl-NL"/>
    </a:defPPr>
    <a:lvl1pPr marL="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leeken, Sara van den" initials="BSvd" lastIdx="2" clrIdx="0">
    <p:extLst>
      <p:ext uri="{19B8F6BF-5375-455C-9EA6-DF929625EA0E}">
        <p15:presenceInfo xmlns:p15="http://schemas.microsoft.com/office/powerpoint/2012/main" userId="S::Sara.van.den.Bleeken@afm.nl::5811c425-2204-4c15-ad26-31c816db04fa" providerId="AD"/>
      </p:ext>
    </p:extLst>
  </p:cmAuthor>
  <p:cmAuthor id="2" name="Groot, Anne de" initials="GAd" lastIdx="3" clrIdx="1">
    <p:extLst>
      <p:ext uri="{19B8F6BF-5375-455C-9EA6-DF929625EA0E}">
        <p15:presenceInfo xmlns:p15="http://schemas.microsoft.com/office/powerpoint/2012/main" userId="S::Anne.Groot@afm.nl::fd26f6bc-72fc-42a1-810b-8190107a6941" providerId="AD"/>
      </p:ext>
    </p:extLst>
  </p:cmAuthor>
  <p:cmAuthor id="3" name="Steen, Laura van" initials="SLv" lastIdx="1" clrIdx="2">
    <p:extLst>
      <p:ext uri="{19B8F6BF-5375-455C-9EA6-DF929625EA0E}">
        <p15:presenceInfo xmlns:p15="http://schemas.microsoft.com/office/powerpoint/2012/main" userId="S::Laura.van.Steen@afm.nl::55e00d99-e5d4-48f1-af03-61bcefa5df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53076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96" autoAdjust="0"/>
    <p:restoredTop sz="94660"/>
  </p:normalViewPr>
  <p:slideViewPr>
    <p:cSldViewPr snapToGrid="0">
      <p:cViewPr varScale="1">
        <p:scale>
          <a:sx n="79" d="100"/>
          <a:sy n="79" d="100"/>
        </p:scale>
        <p:origin x="84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D1358-DC2A-452E-91A6-74C35046DA52}" type="datetimeFigureOut">
              <a:rPr lang="nl-NL" smtClean="0"/>
              <a:t>23-4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E86389-EA76-499D-B6B4-33C04EC1186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81552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4">
            <a:extLst>
              <a:ext uri="{FF2B5EF4-FFF2-40B4-BE49-F238E27FC236}">
                <a16:creationId xmlns:a16="http://schemas.microsoft.com/office/drawing/2014/main" id="{4C6B38E8-16F0-416C-A660-1F95FCB6FC5F}"/>
              </a:ext>
            </a:extLst>
          </p:cNvPr>
          <p:cNvGrpSpPr>
            <a:grpSpLocks noSelect="1" noChangeAspect="1"/>
          </p:cNvGrpSpPr>
          <p:nvPr/>
        </p:nvGrpSpPr>
        <p:grpSpPr bwMode="gray">
          <a:xfrm>
            <a:off x="762000" y="0"/>
            <a:ext cx="11430000" cy="6454775"/>
            <a:chOff x="480" y="0"/>
            <a:chExt cx="7200" cy="4066"/>
          </a:xfrm>
        </p:grpSpPr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27CA1F73-DE38-4F77-B42A-2F297DCFB34C}"/>
                </a:ext>
              </a:extLst>
            </p:cNvPr>
            <p:cNvSpPr>
              <a:spLocks noSelect="1" noChangeArrowheads="1"/>
            </p:cNvSpPr>
            <p:nvPr/>
          </p:nvSpPr>
          <p:spPr bwMode="gray">
            <a:xfrm>
              <a:off x="480" y="0"/>
              <a:ext cx="7200" cy="3600"/>
            </a:xfrm>
            <a:prstGeom prst="rect">
              <a:avLst/>
            </a:prstGeom>
            <a:solidFill>
              <a:srgbClr val="45156C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5E3A06-8481-4950-87CB-278142C0C8BE}"/>
                </a:ext>
              </a:extLst>
            </p:cNvPr>
            <p:cNvSpPr>
              <a:spLocks noSelect="1"/>
            </p:cNvSpPr>
            <p:nvPr/>
          </p:nvSpPr>
          <p:spPr bwMode="gray">
            <a:xfrm>
              <a:off x="6240" y="3842"/>
              <a:ext cx="960" cy="224"/>
            </a:xfrm>
            <a:custGeom>
              <a:avLst/>
              <a:gdLst>
                <a:gd name="T0" fmla="*/ 2365 w 4801"/>
                <a:gd name="T1" fmla="*/ 130 h 1123"/>
                <a:gd name="T2" fmla="*/ 1944 w 4801"/>
                <a:gd name="T3" fmla="*/ 992 h 1123"/>
                <a:gd name="T4" fmla="*/ 2218 w 4801"/>
                <a:gd name="T5" fmla="*/ 806 h 1123"/>
                <a:gd name="T6" fmla="*/ 2706 w 4801"/>
                <a:gd name="T7" fmla="*/ 992 h 1123"/>
                <a:gd name="T8" fmla="*/ 2537 w 4801"/>
                <a:gd name="T9" fmla="*/ 164 h 1123"/>
                <a:gd name="T10" fmla="*/ 2279 w 4801"/>
                <a:gd name="T11" fmla="*/ 661 h 1123"/>
                <a:gd name="T12" fmla="*/ 2569 w 4801"/>
                <a:gd name="T13" fmla="*/ 661 h 1123"/>
                <a:gd name="T14" fmla="*/ 3047 w 4801"/>
                <a:gd name="T15" fmla="*/ 130 h 1123"/>
                <a:gd name="T16" fmla="*/ 3639 w 4801"/>
                <a:gd name="T17" fmla="*/ 227 h 1123"/>
                <a:gd name="T18" fmla="*/ 3183 w 4801"/>
                <a:gd name="T19" fmla="*/ 283 h 1123"/>
                <a:gd name="T20" fmla="*/ 3586 w 4801"/>
                <a:gd name="T21" fmla="*/ 522 h 1123"/>
                <a:gd name="T22" fmla="*/ 3183 w 4801"/>
                <a:gd name="T23" fmla="*/ 675 h 1123"/>
                <a:gd name="T24" fmla="*/ 2990 w 4801"/>
                <a:gd name="T25" fmla="*/ 992 h 1123"/>
                <a:gd name="T26" fmla="*/ 3047 w 4801"/>
                <a:gd name="T27" fmla="*/ 130 h 1123"/>
                <a:gd name="T28" fmla="*/ 4801 w 4801"/>
                <a:gd name="T29" fmla="*/ 992 h 1123"/>
                <a:gd name="T30" fmla="*/ 4606 w 4801"/>
                <a:gd name="T31" fmla="*/ 471 h 1123"/>
                <a:gd name="T32" fmla="*/ 4185 w 4801"/>
                <a:gd name="T33" fmla="*/ 837 h 1123"/>
                <a:gd name="T34" fmla="*/ 3945 w 4801"/>
                <a:gd name="T35" fmla="*/ 992 h 1123"/>
                <a:gd name="T36" fmla="*/ 3751 w 4801"/>
                <a:gd name="T37" fmla="*/ 130 h 1123"/>
                <a:gd name="T38" fmla="*/ 3968 w 4801"/>
                <a:gd name="T39" fmla="*/ 179 h 1123"/>
                <a:gd name="T40" fmla="*/ 4584 w 4801"/>
                <a:gd name="T41" fmla="*/ 179 h 1123"/>
                <a:gd name="T42" fmla="*/ 4801 w 4801"/>
                <a:gd name="T43" fmla="*/ 130 h 1123"/>
                <a:gd name="T44" fmla="*/ 1589 w 4801"/>
                <a:gd name="T45" fmla="*/ 561 h 1123"/>
                <a:gd name="T46" fmla="*/ 1106 w 4801"/>
                <a:gd name="T47" fmla="*/ 250 h 1123"/>
                <a:gd name="T48" fmla="*/ 484 w 4801"/>
                <a:gd name="T49" fmla="*/ 250 h 1123"/>
                <a:gd name="T50" fmla="*/ 638 w 4801"/>
                <a:gd name="T51" fmla="*/ 718 h 1123"/>
                <a:gd name="T52" fmla="*/ 949 w 4801"/>
                <a:gd name="T53" fmla="*/ 721 h 1123"/>
                <a:gd name="T54" fmla="*/ 795 w 4801"/>
                <a:gd name="T55" fmla="*/ 905 h 1123"/>
                <a:gd name="T56" fmla="*/ 154 w 4801"/>
                <a:gd name="T57" fmla="*/ 407 h 1123"/>
                <a:gd name="T58" fmla="*/ 795 w 4801"/>
                <a:gd name="T59" fmla="*/ 0 h 1123"/>
                <a:gd name="T60" fmla="*/ 1038 w 4801"/>
                <a:gd name="T61" fmla="*/ 318 h 1123"/>
                <a:gd name="T62" fmla="*/ 1192 w 4801"/>
                <a:gd name="T63" fmla="*/ 958 h 1123"/>
                <a:gd name="T64" fmla="*/ 398 w 4801"/>
                <a:gd name="T65" fmla="*/ 958 h 1123"/>
                <a:gd name="T66" fmla="*/ 87 w 4801"/>
                <a:gd name="T67" fmla="*/ 475 h 1123"/>
                <a:gd name="T68" fmla="*/ 795 w 4801"/>
                <a:gd name="T69" fmla="*/ 1001 h 1123"/>
                <a:gd name="T70" fmla="*/ 1263 w 4801"/>
                <a:gd name="T71" fmla="*/ 715 h 1123"/>
                <a:gd name="T72" fmla="*/ 795 w 4801"/>
                <a:gd name="T73" fmla="*/ 339 h 1123"/>
                <a:gd name="T74" fmla="*/ 555 w 4801"/>
                <a:gd name="T75" fmla="*/ 315 h 1123"/>
                <a:gd name="T76" fmla="*/ 1038 w 4801"/>
                <a:gd name="T77" fmla="*/ 31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01" h="1123">
                  <a:moveTo>
                    <a:pt x="2485" y="130"/>
                  </a:moveTo>
                  <a:cubicBezTo>
                    <a:pt x="2365" y="130"/>
                    <a:pt x="2365" y="130"/>
                    <a:pt x="2365" y="130"/>
                  </a:cubicBezTo>
                  <a:cubicBezTo>
                    <a:pt x="2343" y="130"/>
                    <a:pt x="2323" y="143"/>
                    <a:pt x="2314" y="164"/>
                  </a:cubicBezTo>
                  <a:cubicBezTo>
                    <a:pt x="1944" y="992"/>
                    <a:pt x="1944" y="992"/>
                    <a:pt x="1944" y="992"/>
                  </a:cubicBezTo>
                  <a:cubicBezTo>
                    <a:pt x="2141" y="992"/>
                    <a:pt x="2141" y="992"/>
                    <a:pt x="2141" y="992"/>
                  </a:cubicBezTo>
                  <a:cubicBezTo>
                    <a:pt x="2218" y="806"/>
                    <a:pt x="2218" y="806"/>
                    <a:pt x="2218" y="806"/>
                  </a:cubicBezTo>
                  <a:cubicBezTo>
                    <a:pt x="2628" y="806"/>
                    <a:pt x="2628" y="806"/>
                    <a:pt x="2628" y="806"/>
                  </a:cubicBezTo>
                  <a:cubicBezTo>
                    <a:pt x="2706" y="992"/>
                    <a:pt x="2706" y="992"/>
                    <a:pt x="2706" y="992"/>
                  </a:cubicBezTo>
                  <a:cubicBezTo>
                    <a:pt x="2907" y="992"/>
                    <a:pt x="2907" y="992"/>
                    <a:pt x="2907" y="992"/>
                  </a:cubicBezTo>
                  <a:cubicBezTo>
                    <a:pt x="2537" y="164"/>
                    <a:pt x="2537" y="164"/>
                    <a:pt x="2537" y="164"/>
                  </a:cubicBezTo>
                  <a:cubicBezTo>
                    <a:pt x="2528" y="143"/>
                    <a:pt x="2507" y="130"/>
                    <a:pt x="2485" y="130"/>
                  </a:cubicBezTo>
                  <a:close/>
                  <a:moveTo>
                    <a:pt x="2279" y="661"/>
                  </a:moveTo>
                  <a:cubicBezTo>
                    <a:pt x="2424" y="312"/>
                    <a:pt x="2424" y="312"/>
                    <a:pt x="2424" y="312"/>
                  </a:cubicBezTo>
                  <a:cubicBezTo>
                    <a:pt x="2569" y="661"/>
                    <a:pt x="2569" y="661"/>
                    <a:pt x="2569" y="661"/>
                  </a:cubicBezTo>
                  <a:lnTo>
                    <a:pt x="2279" y="661"/>
                  </a:lnTo>
                  <a:close/>
                  <a:moveTo>
                    <a:pt x="3047" y="130"/>
                  </a:moveTo>
                  <a:cubicBezTo>
                    <a:pt x="3639" y="130"/>
                    <a:pt x="3639" y="130"/>
                    <a:pt x="3639" y="130"/>
                  </a:cubicBezTo>
                  <a:cubicBezTo>
                    <a:pt x="3639" y="227"/>
                    <a:pt x="3639" y="227"/>
                    <a:pt x="3639" y="227"/>
                  </a:cubicBezTo>
                  <a:cubicBezTo>
                    <a:pt x="3639" y="258"/>
                    <a:pt x="3614" y="283"/>
                    <a:pt x="3583" y="283"/>
                  </a:cubicBezTo>
                  <a:cubicBezTo>
                    <a:pt x="3183" y="283"/>
                    <a:pt x="3183" y="283"/>
                    <a:pt x="3183" y="283"/>
                  </a:cubicBezTo>
                  <a:cubicBezTo>
                    <a:pt x="3183" y="522"/>
                    <a:pt x="3183" y="522"/>
                    <a:pt x="3183" y="522"/>
                  </a:cubicBezTo>
                  <a:cubicBezTo>
                    <a:pt x="3586" y="522"/>
                    <a:pt x="3586" y="522"/>
                    <a:pt x="3586" y="522"/>
                  </a:cubicBezTo>
                  <a:cubicBezTo>
                    <a:pt x="3586" y="675"/>
                    <a:pt x="3586" y="675"/>
                    <a:pt x="3586" y="675"/>
                  </a:cubicBezTo>
                  <a:cubicBezTo>
                    <a:pt x="3183" y="675"/>
                    <a:pt x="3183" y="675"/>
                    <a:pt x="3183" y="675"/>
                  </a:cubicBezTo>
                  <a:cubicBezTo>
                    <a:pt x="3183" y="992"/>
                    <a:pt x="3183" y="992"/>
                    <a:pt x="3183" y="992"/>
                  </a:cubicBezTo>
                  <a:cubicBezTo>
                    <a:pt x="2990" y="992"/>
                    <a:pt x="2990" y="992"/>
                    <a:pt x="2990" y="992"/>
                  </a:cubicBezTo>
                  <a:cubicBezTo>
                    <a:pt x="2990" y="187"/>
                    <a:pt x="2990" y="187"/>
                    <a:pt x="2990" y="187"/>
                  </a:cubicBezTo>
                  <a:cubicBezTo>
                    <a:pt x="2990" y="156"/>
                    <a:pt x="3015" y="130"/>
                    <a:pt x="3047" y="130"/>
                  </a:cubicBezTo>
                  <a:close/>
                  <a:moveTo>
                    <a:pt x="4801" y="130"/>
                  </a:moveTo>
                  <a:cubicBezTo>
                    <a:pt x="4801" y="992"/>
                    <a:pt x="4801" y="992"/>
                    <a:pt x="4801" y="992"/>
                  </a:cubicBezTo>
                  <a:cubicBezTo>
                    <a:pt x="4606" y="992"/>
                    <a:pt x="4606" y="992"/>
                    <a:pt x="4606" y="992"/>
                  </a:cubicBezTo>
                  <a:cubicBezTo>
                    <a:pt x="4606" y="471"/>
                    <a:pt x="4606" y="471"/>
                    <a:pt x="4606" y="471"/>
                  </a:cubicBezTo>
                  <a:cubicBezTo>
                    <a:pt x="4367" y="837"/>
                    <a:pt x="4367" y="837"/>
                    <a:pt x="4367" y="837"/>
                  </a:cubicBezTo>
                  <a:cubicBezTo>
                    <a:pt x="4185" y="837"/>
                    <a:pt x="4185" y="837"/>
                    <a:pt x="4185" y="837"/>
                  </a:cubicBezTo>
                  <a:cubicBezTo>
                    <a:pt x="3945" y="471"/>
                    <a:pt x="3945" y="471"/>
                    <a:pt x="3945" y="471"/>
                  </a:cubicBezTo>
                  <a:cubicBezTo>
                    <a:pt x="3945" y="992"/>
                    <a:pt x="3945" y="992"/>
                    <a:pt x="3945" y="992"/>
                  </a:cubicBezTo>
                  <a:cubicBezTo>
                    <a:pt x="3751" y="992"/>
                    <a:pt x="3751" y="992"/>
                    <a:pt x="3751" y="992"/>
                  </a:cubicBezTo>
                  <a:cubicBezTo>
                    <a:pt x="3751" y="130"/>
                    <a:pt x="3751" y="130"/>
                    <a:pt x="3751" y="130"/>
                  </a:cubicBezTo>
                  <a:cubicBezTo>
                    <a:pt x="3875" y="130"/>
                    <a:pt x="3875" y="130"/>
                    <a:pt x="3875" y="130"/>
                  </a:cubicBezTo>
                  <a:cubicBezTo>
                    <a:pt x="3911" y="130"/>
                    <a:pt x="3949" y="150"/>
                    <a:pt x="3968" y="179"/>
                  </a:cubicBezTo>
                  <a:cubicBezTo>
                    <a:pt x="4276" y="662"/>
                    <a:pt x="4276" y="662"/>
                    <a:pt x="4276" y="662"/>
                  </a:cubicBezTo>
                  <a:cubicBezTo>
                    <a:pt x="4584" y="179"/>
                    <a:pt x="4584" y="179"/>
                    <a:pt x="4584" y="179"/>
                  </a:cubicBezTo>
                  <a:cubicBezTo>
                    <a:pt x="4602" y="150"/>
                    <a:pt x="4640" y="130"/>
                    <a:pt x="4677" y="130"/>
                  </a:cubicBezTo>
                  <a:lnTo>
                    <a:pt x="4801" y="130"/>
                  </a:lnTo>
                  <a:close/>
                  <a:moveTo>
                    <a:pt x="1192" y="164"/>
                  </a:moveTo>
                  <a:cubicBezTo>
                    <a:pt x="1589" y="561"/>
                    <a:pt x="1589" y="561"/>
                    <a:pt x="1589" y="561"/>
                  </a:cubicBezTo>
                  <a:cubicBezTo>
                    <a:pt x="1503" y="647"/>
                    <a:pt x="1503" y="647"/>
                    <a:pt x="1503" y="647"/>
                  </a:cubicBezTo>
                  <a:cubicBezTo>
                    <a:pt x="1106" y="250"/>
                    <a:pt x="1106" y="250"/>
                    <a:pt x="1106" y="250"/>
                  </a:cubicBezTo>
                  <a:cubicBezTo>
                    <a:pt x="1023" y="167"/>
                    <a:pt x="912" y="121"/>
                    <a:pt x="795" y="121"/>
                  </a:cubicBezTo>
                  <a:cubicBezTo>
                    <a:pt x="677" y="121"/>
                    <a:pt x="567" y="167"/>
                    <a:pt x="484" y="250"/>
                  </a:cubicBezTo>
                  <a:cubicBezTo>
                    <a:pt x="327" y="407"/>
                    <a:pt x="327" y="407"/>
                    <a:pt x="327" y="407"/>
                  </a:cubicBezTo>
                  <a:cubicBezTo>
                    <a:pt x="638" y="718"/>
                    <a:pt x="638" y="718"/>
                    <a:pt x="638" y="718"/>
                  </a:cubicBezTo>
                  <a:cubicBezTo>
                    <a:pt x="680" y="760"/>
                    <a:pt x="735" y="783"/>
                    <a:pt x="795" y="783"/>
                  </a:cubicBezTo>
                  <a:cubicBezTo>
                    <a:pt x="853" y="783"/>
                    <a:pt x="907" y="761"/>
                    <a:pt x="949" y="721"/>
                  </a:cubicBezTo>
                  <a:cubicBezTo>
                    <a:pt x="1035" y="808"/>
                    <a:pt x="1035" y="808"/>
                    <a:pt x="1035" y="808"/>
                  </a:cubicBezTo>
                  <a:cubicBezTo>
                    <a:pt x="970" y="871"/>
                    <a:pt x="885" y="905"/>
                    <a:pt x="795" y="905"/>
                  </a:cubicBezTo>
                  <a:cubicBezTo>
                    <a:pt x="703" y="905"/>
                    <a:pt x="616" y="869"/>
                    <a:pt x="552" y="805"/>
                  </a:cubicBezTo>
                  <a:cubicBezTo>
                    <a:pt x="154" y="407"/>
                    <a:pt x="154" y="407"/>
                    <a:pt x="154" y="407"/>
                  </a:cubicBezTo>
                  <a:cubicBezTo>
                    <a:pt x="398" y="164"/>
                    <a:pt x="398" y="164"/>
                    <a:pt x="398" y="164"/>
                  </a:cubicBezTo>
                  <a:cubicBezTo>
                    <a:pt x="504" y="58"/>
                    <a:pt x="645" y="0"/>
                    <a:pt x="795" y="0"/>
                  </a:cubicBezTo>
                  <a:cubicBezTo>
                    <a:pt x="945" y="0"/>
                    <a:pt x="1086" y="58"/>
                    <a:pt x="1192" y="164"/>
                  </a:cubicBezTo>
                  <a:close/>
                  <a:moveTo>
                    <a:pt x="1038" y="318"/>
                  </a:moveTo>
                  <a:cubicBezTo>
                    <a:pt x="1435" y="715"/>
                    <a:pt x="1435" y="715"/>
                    <a:pt x="1435" y="715"/>
                  </a:cubicBezTo>
                  <a:cubicBezTo>
                    <a:pt x="1192" y="958"/>
                    <a:pt x="1192" y="958"/>
                    <a:pt x="1192" y="958"/>
                  </a:cubicBezTo>
                  <a:cubicBezTo>
                    <a:pt x="1086" y="1065"/>
                    <a:pt x="945" y="1123"/>
                    <a:pt x="795" y="1123"/>
                  </a:cubicBezTo>
                  <a:cubicBezTo>
                    <a:pt x="645" y="1123"/>
                    <a:pt x="504" y="1065"/>
                    <a:pt x="398" y="958"/>
                  </a:cubicBezTo>
                  <a:cubicBezTo>
                    <a:pt x="0" y="561"/>
                    <a:pt x="0" y="561"/>
                    <a:pt x="0" y="561"/>
                  </a:cubicBezTo>
                  <a:cubicBezTo>
                    <a:pt x="87" y="475"/>
                    <a:pt x="87" y="475"/>
                    <a:pt x="87" y="475"/>
                  </a:cubicBezTo>
                  <a:cubicBezTo>
                    <a:pt x="484" y="872"/>
                    <a:pt x="484" y="872"/>
                    <a:pt x="484" y="872"/>
                  </a:cubicBezTo>
                  <a:cubicBezTo>
                    <a:pt x="567" y="955"/>
                    <a:pt x="677" y="1001"/>
                    <a:pt x="795" y="1001"/>
                  </a:cubicBezTo>
                  <a:cubicBezTo>
                    <a:pt x="912" y="1001"/>
                    <a:pt x="1023" y="955"/>
                    <a:pt x="1106" y="872"/>
                  </a:cubicBezTo>
                  <a:cubicBezTo>
                    <a:pt x="1263" y="715"/>
                    <a:pt x="1263" y="715"/>
                    <a:pt x="1263" y="715"/>
                  </a:cubicBezTo>
                  <a:cubicBezTo>
                    <a:pt x="952" y="404"/>
                    <a:pt x="952" y="404"/>
                    <a:pt x="952" y="404"/>
                  </a:cubicBezTo>
                  <a:cubicBezTo>
                    <a:pt x="910" y="362"/>
                    <a:pt x="854" y="339"/>
                    <a:pt x="795" y="339"/>
                  </a:cubicBezTo>
                  <a:cubicBezTo>
                    <a:pt x="737" y="339"/>
                    <a:pt x="682" y="361"/>
                    <a:pt x="641" y="401"/>
                  </a:cubicBezTo>
                  <a:cubicBezTo>
                    <a:pt x="555" y="315"/>
                    <a:pt x="555" y="315"/>
                    <a:pt x="555" y="315"/>
                  </a:cubicBezTo>
                  <a:cubicBezTo>
                    <a:pt x="619" y="252"/>
                    <a:pt x="704" y="217"/>
                    <a:pt x="795" y="217"/>
                  </a:cubicBezTo>
                  <a:cubicBezTo>
                    <a:pt x="887" y="217"/>
                    <a:pt x="973" y="253"/>
                    <a:pt x="1038" y="318"/>
                  </a:cubicBezTo>
                  <a:close/>
                </a:path>
              </a:pathLst>
            </a:custGeom>
            <a:solidFill>
              <a:srgbClr val="451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" name="Titel 1"/>
          <p:cNvSpPr>
            <a:spLocks noGrp="1" noSelect="1"/>
          </p:cNvSpPr>
          <p:nvPr>
            <p:ph type="ctrTitle" hasCustomPrompt="1"/>
          </p:nvPr>
        </p:nvSpPr>
        <p:spPr bwMode="gray">
          <a:xfrm>
            <a:off x="1511633" y="1065667"/>
            <a:ext cx="9931068" cy="2697766"/>
          </a:xfrm>
        </p:spPr>
        <p:txBody>
          <a:bodyPr anchor="b" anchorCtr="0"/>
          <a:lstStyle>
            <a:lvl1pPr algn="l">
              <a:defRPr sz="7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3" name="Ondertitel 2"/>
          <p:cNvSpPr>
            <a:spLocks noGrp="1" noSelect="1"/>
          </p:cNvSpPr>
          <p:nvPr>
            <p:ph type="subTitle" idx="1" hasCustomPrompt="1"/>
          </p:nvPr>
        </p:nvSpPr>
        <p:spPr bwMode="gray">
          <a:xfrm>
            <a:off x="1524331" y="4669365"/>
            <a:ext cx="9918369" cy="711201"/>
          </a:xfrm>
        </p:spPr>
        <p:txBody>
          <a:bodyPr/>
          <a:lstStyle>
            <a:lvl1pPr marL="0" indent="0" algn="l">
              <a:buNone/>
              <a:defRPr sz="2400" spc="50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[Subtitel]</a:t>
            </a:r>
          </a:p>
        </p:txBody>
      </p:sp>
      <p:sp>
        <p:nvSpPr>
          <p:cNvPr id="4" name="Tijdelijke aanduiding voor datum 3"/>
          <p:cNvSpPr>
            <a:spLocks noGrp="1" noSelect="1"/>
          </p:cNvSpPr>
          <p:nvPr>
            <p:ph type="dt" sz="half" idx="10"/>
          </p:nvPr>
        </p:nvSpPr>
        <p:spPr/>
        <p:txBody>
          <a:bodyPr/>
          <a:lstStyle/>
          <a:p>
            <a:fld id="{24739C74-B3A5-44D3-99A9-550BE287AEE1}" type="datetime1">
              <a:rPr lang="nl-NL" smtClean="0"/>
              <a:t>23-4-2024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 noSelect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6" name="Tijdelijke aanduiding voor dianummer 5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0325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,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8">
            <a:extLst>
              <a:ext uri="{FF2B5EF4-FFF2-40B4-BE49-F238E27FC236}">
                <a16:creationId xmlns:a16="http://schemas.microsoft.com/office/drawing/2014/main" id="{8B303CBF-8898-4C31-94D0-A8B490648D06}"/>
              </a:ext>
            </a:extLst>
          </p:cNvPr>
          <p:cNvSpPr>
            <a:spLocks noGrp="1" noSelect="1"/>
          </p:cNvSpPr>
          <p:nvPr>
            <p:ph type="pic" idx="10" hasCustomPrompt="1"/>
          </p:nvPr>
        </p:nvSpPr>
        <p:spPr bwMode="gray">
          <a:xfrm>
            <a:off x="6480" y="0"/>
            <a:ext cx="12185640" cy="511812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nl-NL" dirty="0"/>
              <a:t>[Klik in dit vak en voeg via Invoegen | Afbeeldingen een afbeelding in, na plaatsen klik in de afbeelding met de rechtermuisknop en kies ‘Naar achtergrond’]</a:t>
            </a:r>
            <a:endParaRPr lang="aa-ET" dirty="0"/>
          </a:p>
        </p:txBody>
      </p:sp>
      <p:sp>
        <p:nvSpPr>
          <p:cNvPr id="11" name="Rectangle 6 (PHJU) (PHJU)">
            <a:extLst>
              <a:ext uri="{FF2B5EF4-FFF2-40B4-BE49-F238E27FC236}">
                <a16:creationId xmlns:a16="http://schemas.microsoft.com/office/drawing/2014/main" id="{B5E011F1-82AD-4663-8E86-C55D9A60A769}"/>
              </a:ext>
            </a:extLst>
          </p:cNvPr>
          <p:cNvSpPr>
            <a:spLocks noGrp="1" noSelect="1" noChangeArrowheads="1"/>
          </p:cNvSpPr>
          <p:nvPr>
            <p:ph type="body" idx="1000" hasCustomPrompt="1"/>
          </p:nvPr>
        </p:nvSpPr>
        <p:spPr bwMode="gray">
          <a:xfrm>
            <a:off x="762000" y="1954213"/>
            <a:ext cx="6102350" cy="4141788"/>
          </a:xfrm>
          <a:prstGeom prst="rect">
            <a:avLst/>
          </a:prstGeom>
          <a:solidFill>
            <a:srgbClr val="A7D9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</a:lstStyle>
          <a:p>
            <a:r>
              <a:rPr lang="nl-NL" dirty="0"/>
              <a:t> </a:t>
            </a:r>
          </a:p>
        </p:txBody>
      </p:sp>
      <p:sp>
        <p:nvSpPr>
          <p:cNvPr id="8" name="***Titel 1">
            <a:extLst>
              <a:ext uri="{FF2B5EF4-FFF2-40B4-BE49-F238E27FC236}">
                <a16:creationId xmlns:a16="http://schemas.microsoft.com/office/drawing/2014/main" id="{711BF284-CDF7-4A3A-8597-B2DEFAFF522C}"/>
              </a:ext>
            </a:extLst>
          </p:cNvPr>
          <p:cNvSpPr>
            <a:spLocks noGrp="1" noSelect="1"/>
          </p:cNvSpPr>
          <p:nvPr>
            <p:ph type="title" hasCustomPrompt="1"/>
          </p:nvPr>
        </p:nvSpPr>
        <p:spPr bwMode="gray">
          <a:xfrm>
            <a:off x="1523865" y="2347224"/>
            <a:ext cx="4572135" cy="130191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9" name="Tijdelijke aanduiding voor tekst 8 (JU-Free)">
            <a:extLst>
              <a:ext uri="{FF2B5EF4-FFF2-40B4-BE49-F238E27FC236}">
                <a16:creationId xmlns:a16="http://schemas.microsoft.com/office/drawing/2014/main" id="{4F5D772B-17F9-4469-B96B-07B651B987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90133" y="3788294"/>
            <a:ext cx="4605867" cy="1926706"/>
          </a:xfrm>
        </p:spPr>
        <p:txBody>
          <a:bodyPr numCol="1" spcCol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12" name="Instructie voorbeelddia Grafiek 3 (JU-Free) (PHJU)">
            <a:extLst>
              <a:ext uri="{FF2B5EF4-FFF2-40B4-BE49-F238E27FC236}">
                <a16:creationId xmlns:a16="http://schemas.microsoft.com/office/drawing/2014/main" id="{F765B45F-1194-40B3-BE80-EADAA436B870}"/>
              </a:ext>
            </a:extLst>
          </p:cNvPr>
          <p:cNvSpPr>
            <a:spLocks noGrp="1"/>
          </p:cNvSpPr>
          <p:nvPr>
            <p:ph type="body" idx="1001" hasCustomPrompt="1"/>
          </p:nvPr>
        </p:nvSpPr>
        <p:spPr bwMode="gray">
          <a:xfrm>
            <a:off x="-2176329" y="0"/>
            <a:ext cx="2052000" cy="76744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lang="nl-NL" sz="1100" dirty="0">
                <a:solidFill>
                  <a:srgbClr val="000000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nl-NL" sz="1100" dirty="0">
                <a:solidFill>
                  <a:schemeClr val="tx1"/>
                </a:solidFill>
              </a:rPr>
              <a:t>Eventueel kan het blauwe vlak handmatig worden verwijderd. Klik hiervoor op een rand van het vlak en druk op ‘Delete’</a:t>
            </a:r>
          </a:p>
          <a:p>
            <a:pPr lvl="0"/>
            <a:endParaRPr lang="nl-NL" sz="1100" dirty="0">
              <a:solidFill>
                <a:schemeClr val="tx1"/>
              </a:solidFill>
            </a:endParaRPr>
          </a:p>
        </p:txBody>
      </p:sp>
      <p:sp>
        <p:nvSpPr>
          <p:cNvPr id="2" name="Tijdelijke aanduiding voor datum 1"/>
          <p:cNvSpPr>
            <a:spLocks noGrp="1" noSelect="1"/>
          </p:cNvSpPr>
          <p:nvPr>
            <p:ph type="dt" sz="half" idx="1002"/>
          </p:nvPr>
        </p:nvSpPr>
        <p:spPr/>
        <p:txBody>
          <a:bodyPr/>
          <a:lstStyle/>
          <a:p>
            <a:fld id="{602B44C5-6964-46EB-94DE-CF74213A3690}" type="datetime1">
              <a:rPr lang="nl-NL" smtClean="0"/>
              <a:t>23-4-2024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 noSelect="1"/>
          </p:cNvSpPr>
          <p:nvPr>
            <p:ph type="ftr" sz="quarter" idx="1003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4" name="Tijdelijke aanduiding voor dianummer 3"/>
          <p:cNvSpPr>
            <a:spLocks noGrp="1" noSelect="1"/>
          </p:cNvSpPr>
          <p:nvPr>
            <p:ph type="sldNum" sz="quarter" idx="1004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7302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en kort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9139EEE0-AE1F-4088-A81F-AE7CFECC06BD}"/>
              </a:ext>
            </a:extLst>
          </p:cNvPr>
          <p:cNvSpPr>
            <a:spLocks noGrp="1" noSelect="1"/>
          </p:cNvSpPr>
          <p:nvPr>
            <p:ph type="pic" idx="10" hasCustomPrompt="1"/>
          </p:nvPr>
        </p:nvSpPr>
        <p:spPr bwMode="gray">
          <a:xfrm>
            <a:off x="0" y="0"/>
            <a:ext cx="12192120" cy="609588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l-NL" dirty="0"/>
              <a:t>[Klik op het pictogram om een afbeelding in te voegen]</a:t>
            </a:r>
          </a:p>
        </p:txBody>
      </p:sp>
      <p:sp>
        <p:nvSpPr>
          <p:cNvPr id="10" name="Rectangle 6 (PHJU) (PHJU)">
            <a:extLst>
              <a:ext uri="{FF2B5EF4-FFF2-40B4-BE49-F238E27FC236}">
                <a16:creationId xmlns:a16="http://schemas.microsoft.com/office/drawing/2014/main" id="{575E43CF-1892-42AF-B958-165D897158D3}"/>
              </a:ext>
            </a:extLst>
          </p:cNvPr>
          <p:cNvSpPr>
            <a:spLocks noGrp="1" noSelect="1" noChangeArrowheads="1"/>
          </p:cNvSpPr>
          <p:nvPr>
            <p:ph type="body" idx="1000" hasCustomPrompt="1"/>
          </p:nvPr>
        </p:nvSpPr>
        <p:spPr bwMode="gray">
          <a:xfrm>
            <a:off x="760413" y="2465388"/>
            <a:ext cx="4575175" cy="2868613"/>
          </a:xfrm>
          <a:prstGeom prst="rect">
            <a:avLst/>
          </a:prstGeom>
          <a:solidFill>
            <a:srgbClr val="A7D9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</a:lstStyle>
          <a:p>
            <a:r>
              <a:rPr lang="nl-NL" dirty="0"/>
              <a:t> </a:t>
            </a:r>
          </a:p>
        </p:txBody>
      </p:sp>
      <p:sp>
        <p:nvSpPr>
          <p:cNvPr id="11" name="***Titel 1">
            <a:extLst>
              <a:ext uri="{FF2B5EF4-FFF2-40B4-BE49-F238E27FC236}">
                <a16:creationId xmlns:a16="http://schemas.microsoft.com/office/drawing/2014/main" id="{1A675340-AF72-4DEE-873E-3229B65BA1FA}"/>
              </a:ext>
            </a:extLst>
          </p:cNvPr>
          <p:cNvSpPr>
            <a:spLocks noGrp="1" noSelect="1"/>
          </p:cNvSpPr>
          <p:nvPr>
            <p:ph type="title" hasCustomPrompt="1"/>
          </p:nvPr>
        </p:nvSpPr>
        <p:spPr bwMode="gray">
          <a:xfrm>
            <a:off x="1527868" y="2851659"/>
            <a:ext cx="3017816" cy="2032576"/>
          </a:xfrm>
        </p:spPr>
        <p:txBody>
          <a:bodyPr/>
          <a:lstStyle>
            <a:lvl1pPr>
              <a:defRPr lang="nl-NL" sz="4600" b="1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[Titel]</a:t>
            </a:r>
            <a:endParaRPr lang="aa-ET" dirty="0"/>
          </a:p>
        </p:txBody>
      </p:sp>
      <p:sp>
        <p:nvSpPr>
          <p:cNvPr id="12" name="Instructie voorbeelddia Grafiek 3 (JU-Free) (PHJU)">
            <a:extLst>
              <a:ext uri="{FF2B5EF4-FFF2-40B4-BE49-F238E27FC236}">
                <a16:creationId xmlns:a16="http://schemas.microsoft.com/office/drawing/2014/main" id="{70D88614-6F63-4AA4-B016-EBD463EF521A}"/>
              </a:ext>
            </a:extLst>
          </p:cNvPr>
          <p:cNvSpPr>
            <a:spLocks noGrp="1"/>
          </p:cNvSpPr>
          <p:nvPr>
            <p:ph type="body" idx="1001" hasCustomPrompt="1"/>
          </p:nvPr>
        </p:nvSpPr>
        <p:spPr bwMode="gray">
          <a:xfrm>
            <a:off x="-2176329" y="0"/>
            <a:ext cx="2052000" cy="76744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lang="nl-NL" sz="1100" dirty="0">
                <a:solidFill>
                  <a:srgbClr val="000000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nl-NL" sz="1100" dirty="0">
                <a:solidFill>
                  <a:schemeClr val="tx1"/>
                </a:solidFill>
              </a:rPr>
              <a:t>Eventueel kan het blauwe vlak handmatig worden verwijderd. Klik hiervoor op een rand van het vlak en druk op ‘Delete’</a:t>
            </a:r>
          </a:p>
          <a:p>
            <a:pPr lvl="0"/>
            <a:endParaRPr lang="nl-NL" sz="1100" dirty="0">
              <a:solidFill>
                <a:schemeClr val="tx1"/>
              </a:solidFill>
            </a:endParaRPr>
          </a:p>
        </p:txBody>
      </p:sp>
      <p:sp>
        <p:nvSpPr>
          <p:cNvPr id="2" name="Tijdelijke aanduiding voor datum 1"/>
          <p:cNvSpPr>
            <a:spLocks noGrp="1" noSelect="1"/>
          </p:cNvSpPr>
          <p:nvPr>
            <p:ph type="dt" sz="half" idx="1002"/>
          </p:nvPr>
        </p:nvSpPr>
        <p:spPr/>
        <p:txBody>
          <a:bodyPr/>
          <a:lstStyle/>
          <a:p>
            <a:fld id="{AB4B1200-02C4-4606-86BC-E75CD530B113}" type="datetime1">
              <a:rPr lang="nl-NL" smtClean="0"/>
              <a:t>23-4-2024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 noSelect="1"/>
          </p:cNvSpPr>
          <p:nvPr>
            <p:ph type="ftr" sz="quarter" idx="1003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4" name="Tijdelijke aanduiding voor dianummer 3"/>
          <p:cNvSpPr>
            <a:spLocks noGrp="1" noSelect="1"/>
          </p:cNvSpPr>
          <p:nvPr>
            <p:ph type="sldNum" sz="quarter" idx="1004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9319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afbeelding, kop en teks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12D223FE-F38B-42FB-B1CC-09AE3679F73D}"/>
              </a:ext>
            </a:extLst>
          </p:cNvPr>
          <p:cNvSpPr>
            <a:spLocks noGrp="1" noSelect="1"/>
          </p:cNvSpPr>
          <p:nvPr>
            <p:ph type="pic" sz="quarter" idx="19" hasCustomPrompt="1"/>
          </p:nvPr>
        </p:nvSpPr>
        <p:spPr bwMode="gray">
          <a:xfrm>
            <a:off x="759887" y="2552699"/>
            <a:ext cx="3050113" cy="1803401"/>
          </a:xfrm>
        </p:spPr>
        <p:txBody>
          <a:bodyPr/>
          <a:lstStyle>
            <a:lvl1pPr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20" name="Tijdelijke aanduiding voor tekst 8 (JU-Free)">
            <a:extLst>
              <a:ext uri="{FF2B5EF4-FFF2-40B4-BE49-F238E27FC236}">
                <a16:creationId xmlns:a16="http://schemas.microsoft.com/office/drawing/2014/main" id="{5C8AC3AA-C528-4E88-B62A-E9CC8472E2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59887" y="4631267"/>
            <a:ext cx="3050113" cy="474134"/>
          </a:xfrm>
        </p:spPr>
        <p:txBody>
          <a:bodyPr numCol="1" spcCol="360000"/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/>
              <a:t>[Kop]</a:t>
            </a:r>
          </a:p>
          <a:p>
            <a:pPr lvl="0"/>
            <a:r>
              <a:rPr lang="nl-NL"/>
              <a:t>JU-LEVEL1=Kop</a:t>
            </a:r>
            <a:endParaRPr lang="nl-NL" dirty="0"/>
          </a:p>
        </p:txBody>
      </p:sp>
      <p:sp>
        <p:nvSpPr>
          <p:cNvPr id="13" name="Tijdelijke aanduiding voor tekst 8 (JU-Free)">
            <a:extLst>
              <a:ext uri="{FF2B5EF4-FFF2-40B4-BE49-F238E27FC236}">
                <a16:creationId xmlns:a16="http://schemas.microsoft.com/office/drawing/2014/main" id="{1206B615-C140-4672-8900-4DFC2533818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59887" y="5113867"/>
            <a:ext cx="3050113" cy="1007532"/>
          </a:xfrm>
        </p:spPr>
        <p:txBody>
          <a:bodyPr numCol="1" spcCol="360000"/>
          <a:lstStyle>
            <a:lvl1pPr marL="0" indent="0" algn="ctr"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230400" indent="0" algn="ctr"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/>
              <a:t>[Tekst]</a:t>
            </a:r>
          </a:p>
          <a:p>
            <a:pPr lvl="0"/>
            <a:r>
              <a:rPr lang="nl-NL"/>
              <a:t>JU-LEVEL1=Tekst</a:t>
            </a:r>
            <a:endParaRPr lang="nl-NL" dirty="0"/>
          </a:p>
        </p:txBody>
      </p:sp>
      <p:sp>
        <p:nvSpPr>
          <p:cNvPr id="17" name="Tijdelijke aanduiding voor afbeelding 9">
            <a:extLst>
              <a:ext uri="{FF2B5EF4-FFF2-40B4-BE49-F238E27FC236}">
                <a16:creationId xmlns:a16="http://schemas.microsoft.com/office/drawing/2014/main" id="{445EF7C5-B836-4D5F-A33F-3093D04F9D27}"/>
              </a:ext>
            </a:extLst>
          </p:cNvPr>
          <p:cNvSpPr>
            <a:spLocks noGrp="1" noSelect="1"/>
          </p:cNvSpPr>
          <p:nvPr>
            <p:ph type="pic" sz="quarter" idx="24" hasCustomPrompt="1"/>
          </p:nvPr>
        </p:nvSpPr>
        <p:spPr bwMode="gray">
          <a:xfrm>
            <a:off x="4576237" y="2552699"/>
            <a:ext cx="3050113" cy="1803401"/>
          </a:xfrm>
        </p:spPr>
        <p:txBody>
          <a:bodyPr/>
          <a:lstStyle>
            <a:lvl1pPr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19" name="Tijdelijke aanduiding voor tekst 8 (JU-Free)">
            <a:extLst>
              <a:ext uri="{FF2B5EF4-FFF2-40B4-BE49-F238E27FC236}">
                <a16:creationId xmlns:a16="http://schemas.microsoft.com/office/drawing/2014/main" id="{73465052-39CC-4206-AFFF-79A7724AD3A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576237" y="4631267"/>
            <a:ext cx="3050113" cy="474134"/>
          </a:xfrm>
        </p:spPr>
        <p:txBody>
          <a:bodyPr numCol="1" spcCol="360000"/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/>
              <a:t>[Kop]</a:t>
            </a:r>
          </a:p>
          <a:p>
            <a:pPr lvl="0"/>
            <a:r>
              <a:rPr lang="nl-NL"/>
              <a:t>JU-LEVEL1=Kop</a:t>
            </a:r>
            <a:endParaRPr lang="nl-NL" dirty="0"/>
          </a:p>
        </p:txBody>
      </p:sp>
      <p:sp>
        <p:nvSpPr>
          <p:cNvPr id="21" name="Tijdelijke aanduiding voor tekst 8 (JU-Free)">
            <a:extLst>
              <a:ext uri="{FF2B5EF4-FFF2-40B4-BE49-F238E27FC236}">
                <a16:creationId xmlns:a16="http://schemas.microsoft.com/office/drawing/2014/main" id="{47816EBD-600B-4889-B089-CD3D136643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576237" y="5113867"/>
            <a:ext cx="3050113" cy="1007532"/>
          </a:xfrm>
        </p:spPr>
        <p:txBody>
          <a:bodyPr numCol="1" spcCol="360000"/>
          <a:lstStyle>
            <a:lvl1pPr marL="0" indent="0" algn="ctr"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230400" indent="0" algn="ctr"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/>
              <a:t>[Tekst]</a:t>
            </a:r>
          </a:p>
          <a:p>
            <a:pPr lvl="0"/>
            <a:r>
              <a:rPr lang="nl-NL"/>
              <a:t>JU-LEVEL1=Tekst</a:t>
            </a:r>
            <a:endParaRPr lang="nl-NL" dirty="0"/>
          </a:p>
        </p:txBody>
      </p:sp>
      <p:sp>
        <p:nvSpPr>
          <p:cNvPr id="22" name="Tijdelijke aanduiding voor afbeelding 9">
            <a:extLst>
              <a:ext uri="{FF2B5EF4-FFF2-40B4-BE49-F238E27FC236}">
                <a16:creationId xmlns:a16="http://schemas.microsoft.com/office/drawing/2014/main" id="{56D70A9D-5DEC-46BB-921D-C66ACAEC998E}"/>
              </a:ext>
            </a:extLst>
          </p:cNvPr>
          <p:cNvSpPr>
            <a:spLocks noGrp="1" noSelect="1"/>
          </p:cNvSpPr>
          <p:nvPr>
            <p:ph type="pic" sz="quarter" idx="27" hasCustomPrompt="1"/>
          </p:nvPr>
        </p:nvSpPr>
        <p:spPr bwMode="gray">
          <a:xfrm>
            <a:off x="8392588" y="2552699"/>
            <a:ext cx="3050113" cy="1803401"/>
          </a:xfrm>
        </p:spPr>
        <p:txBody>
          <a:bodyPr/>
          <a:lstStyle>
            <a:lvl1pPr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23" name="Tijdelijke aanduiding voor tekst 8 (JU-Free)">
            <a:extLst>
              <a:ext uri="{FF2B5EF4-FFF2-40B4-BE49-F238E27FC236}">
                <a16:creationId xmlns:a16="http://schemas.microsoft.com/office/drawing/2014/main" id="{26207166-1158-4CB3-ABB7-AC7110E426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392588" y="4631267"/>
            <a:ext cx="3050113" cy="474134"/>
          </a:xfrm>
        </p:spPr>
        <p:txBody>
          <a:bodyPr numCol="1" spcCol="360000"/>
          <a:lstStyle>
            <a:lvl1pPr marL="0" indent="0" algn="ctr">
              <a:buNone/>
              <a:defRPr sz="3200" b="1">
                <a:solidFill>
                  <a:schemeClr val="accent1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/>
              <a:t>[Kop]</a:t>
            </a:r>
          </a:p>
          <a:p>
            <a:pPr lvl="0"/>
            <a:r>
              <a:rPr lang="nl-NL"/>
              <a:t>JU-LEVEL1=Kop</a:t>
            </a:r>
            <a:endParaRPr lang="nl-NL" dirty="0"/>
          </a:p>
        </p:txBody>
      </p:sp>
      <p:sp>
        <p:nvSpPr>
          <p:cNvPr id="24" name="Tijdelijke aanduiding voor tekst 8 (JU-Free)">
            <a:extLst>
              <a:ext uri="{FF2B5EF4-FFF2-40B4-BE49-F238E27FC236}">
                <a16:creationId xmlns:a16="http://schemas.microsoft.com/office/drawing/2014/main" id="{DF0B4C3C-0B5C-4F4D-8406-8BD2F2A8855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392588" y="5113867"/>
            <a:ext cx="3050113" cy="1007532"/>
          </a:xfrm>
        </p:spPr>
        <p:txBody>
          <a:bodyPr numCol="1" spcCol="360000"/>
          <a:lstStyle>
            <a:lvl1pPr marL="0" indent="0" algn="ctr">
              <a:buNone/>
              <a:defRPr sz="1600" b="1">
                <a:solidFill>
                  <a:schemeClr val="accent1"/>
                </a:solidFill>
                <a:latin typeface="+mj-lt"/>
              </a:defRPr>
            </a:lvl1pPr>
            <a:lvl2pPr marL="230400" indent="0" algn="ctr"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16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/>
              <a:t>[Tekst]</a:t>
            </a:r>
          </a:p>
          <a:p>
            <a:pPr lvl="0"/>
            <a:r>
              <a:rPr lang="nl-NL"/>
              <a:t>JU-LEVEL1=Tekst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30"/>
          </p:nvPr>
        </p:nvSpPr>
        <p:spPr/>
        <p:txBody>
          <a:bodyPr/>
          <a:lstStyle/>
          <a:p>
            <a:fld id="{03CC3E91-1DDB-449D-A4AC-715A7CDA636F}" type="datetime1">
              <a:rPr lang="nl-NL" smtClean="0"/>
              <a:t>23-4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 noSelect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32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803293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grafiek en teks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20" name="Tijdelijke aanduiding voor tekst 8 (JU-Free)">
            <a:extLst>
              <a:ext uri="{FF2B5EF4-FFF2-40B4-BE49-F238E27FC236}">
                <a16:creationId xmlns:a16="http://schemas.microsoft.com/office/drawing/2014/main" id="{5C8AC3AA-C528-4E88-B62A-E9CC8472E2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88101" y="2144209"/>
            <a:ext cx="3180183" cy="344795"/>
          </a:xfrm>
        </p:spPr>
        <p:txBody>
          <a:bodyPr numCol="1" spcCol="360000"/>
          <a:lstStyle>
            <a:lvl1pPr marL="0" indent="0" algn="l">
              <a:lnSpc>
                <a:spcPct val="90000"/>
              </a:lnSpc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 dirty="0"/>
              <a:t>[Titel grafiek]</a:t>
            </a:r>
          </a:p>
          <a:p>
            <a:pPr lvl="0"/>
            <a:r>
              <a:rPr lang="nl-NL" dirty="0"/>
              <a:t>JU-LEVEL1=Titel</a:t>
            </a:r>
          </a:p>
        </p:txBody>
      </p:sp>
      <p:sp>
        <p:nvSpPr>
          <p:cNvPr id="9" name="Tijdelijke aanduiding voor grafiek 8">
            <a:extLst>
              <a:ext uri="{FF2B5EF4-FFF2-40B4-BE49-F238E27FC236}">
                <a16:creationId xmlns:a16="http://schemas.microsoft.com/office/drawing/2014/main" id="{E7F02B6E-9327-4DEF-87D0-897F40B20567}"/>
              </a:ext>
            </a:extLst>
          </p:cNvPr>
          <p:cNvSpPr>
            <a:spLocks noGrp="1" noSelect="1"/>
          </p:cNvSpPr>
          <p:nvPr>
            <p:ph type="chart" sz="quarter" idx="30" hasCustomPrompt="1"/>
          </p:nvPr>
        </p:nvSpPr>
        <p:spPr bwMode="gray">
          <a:xfrm>
            <a:off x="787400" y="2677389"/>
            <a:ext cx="3181350" cy="3037611"/>
          </a:xfrm>
        </p:spPr>
        <p:txBody>
          <a:bodyPr/>
          <a:lstStyle>
            <a:lvl1pPr marL="43200" indent="0">
              <a:buNone/>
              <a:defRPr/>
            </a:lvl1pPr>
          </a:lstStyle>
          <a:p>
            <a:r>
              <a:rPr lang="nl-NL"/>
              <a:t>[Klik op het pictogram om een grafiek in te voegen]</a:t>
            </a:r>
            <a:endParaRPr lang="nl-NL" dirty="0"/>
          </a:p>
        </p:txBody>
      </p:sp>
      <p:sp>
        <p:nvSpPr>
          <p:cNvPr id="25" name="Tijdelijke aanduiding voor tekst 8 (JU-Free)">
            <a:extLst>
              <a:ext uri="{FF2B5EF4-FFF2-40B4-BE49-F238E27FC236}">
                <a16:creationId xmlns:a16="http://schemas.microsoft.com/office/drawing/2014/main" id="{F22206F5-2AEF-43A3-9F37-813175030E1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542895" y="2144208"/>
            <a:ext cx="3180183" cy="344795"/>
          </a:xfrm>
        </p:spPr>
        <p:txBody>
          <a:bodyPr numCol="1" spcCol="360000"/>
          <a:lstStyle>
            <a:lvl1pPr marL="0" indent="0" algn="l">
              <a:lnSpc>
                <a:spcPct val="90000"/>
              </a:lnSpc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 dirty="0"/>
              <a:t>[Titel grafiek]</a:t>
            </a:r>
          </a:p>
          <a:p>
            <a:pPr lvl="0"/>
            <a:r>
              <a:rPr lang="nl-NL" dirty="0"/>
              <a:t>JU-LEVEL1=Titel</a:t>
            </a:r>
          </a:p>
        </p:txBody>
      </p:sp>
      <p:sp>
        <p:nvSpPr>
          <p:cNvPr id="26" name="Tijdelijke aanduiding voor grafiek 8">
            <a:extLst>
              <a:ext uri="{FF2B5EF4-FFF2-40B4-BE49-F238E27FC236}">
                <a16:creationId xmlns:a16="http://schemas.microsoft.com/office/drawing/2014/main" id="{A5A75047-B12E-4916-804B-E4D65B5D4B13}"/>
              </a:ext>
            </a:extLst>
          </p:cNvPr>
          <p:cNvSpPr>
            <a:spLocks noGrp="1" noSelect="1"/>
          </p:cNvSpPr>
          <p:nvPr>
            <p:ph type="chart" sz="quarter" idx="32" hasCustomPrompt="1"/>
          </p:nvPr>
        </p:nvSpPr>
        <p:spPr bwMode="gray">
          <a:xfrm>
            <a:off x="4541728" y="2677389"/>
            <a:ext cx="3181350" cy="3037611"/>
          </a:xfrm>
        </p:spPr>
        <p:txBody>
          <a:bodyPr/>
          <a:lstStyle>
            <a:lvl1pPr marL="43200" indent="0">
              <a:buNone/>
              <a:defRPr/>
            </a:lvl1pPr>
          </a:lstStyle>
          <a:p>
            <a:r>
              <a:rPr lang="nl-NL"/>
              <a:t>[Klik op het pictogram om een grafiek in te voegen]</a:t>
            </a:r>
            <a:endParaRPr lang="nl-NL" dirty="0"/>
          </a:p>
        </p:txBody>
      </p:sp>
      <p:sp>
        <p:nvSpPr>
          <p:cNvPr id="27" name="Tijdelijke aanduiding voor tekst 8 (JU-Free)">
            <a:extLst>
              <a:ext uri="{FF2B5EF4-FFF2-40B4-BE49-F238E27FC236}">
                <a16:creationId xmlns:a16="http://schemas.microsoft.com/office/drawing/2014/main" id="{F7891C9E-6FC5-4C16-A017-E53C54FD7F7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260821" y="2145906"/>
            <a:ext cx="3180183" cy="344795"/>
          </a:xfrm>
        </p:spPr>
        <p:txBody>
          <a:bodyPr numCol="1" spcCol="360000"/>
          <a:lstStyle>
            <a:lvl1pPr marL="0" indent="0" algn="l">
              <a:lnSpc>
                <a:spcPct val="90000"/>
              </a:lnSpc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 dirty="0"/>
              <a:t>[Titel grafiek]</a:t>
            </a:r>
          </a:p>
          <a:p>
            <a:pPr lvl="0"/>
            <a:r>
              <a:rPr lang="nl-NL" dirty="0"/>
              <a:t>JU-LEVEL1=Titel</a:t>
            </a:r>
          </a:p>
        </p:txBody>
      </p:sp>
      <p:sp>
        <p:nvSpPr>
          <p:cNvPr id="28" name="Tijdelijke aanduiding voor grafiek 8">
            <a:extLst>
              <a:ext uri="{FF2B5EF4-FFF2-40B4-BE49-F238E27FC236}">
                <a16:creationId xmlns:a16="http://schemas.microsoft.com/office/drawing/2014/main" id="{403C52F3-F346-4974-8E33-753B059FE9B2}"/>
              </a:ext>
            </a:extLst>
          </p:cNvPr>
          <p:cNvSpPr>
            <a:spLocks noGrp="1" noSelect="1"/>
          </p:cNvSpPr>
          <p:nvPr>
            <p:ph type="chart" sz="quarter" idx="34" hasCustomPrompt="1"/>
          </p:nvPr>
        </p:nvSpPr>
        <p:spPr bwMode="gray">
          <a:xfrm>
            <a:off x="8260821" y="2677389"/>
            <a:ext cx="3181350" cy="3037611"/>
          </a:xfrm>
        </p:spPr>
        <p:txBody>
          <a:bodyPr/>
          <a:lstStyle>
            <a:lvl1pPr marL="43200" indent="0">
              <a:buNone/>
              <a:defRPr/>
            </a:lvl1pPr>
          </a:lstStyle>
          <a:p>
            <a:r>
              <a:rPr lang="nl-NL"/>
              <a:t>[Klik op het pictogram om een grafiek in te voegen]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35"/>
          </p:nvPr>
        </p:nvSpPr>
        <p:spPr/>
        <p:txBody>
          <a:bodyPr/>
          <a:lstStyle/>
          <a:p>
            <a:fld id="{27A017C9-F4B8-4B67-B471-C640C0E081FD}" type="datetime1">
              <a:rPr lang="nl-NL" smtClean="0"/>
              <a:t>23-4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 noSelect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37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410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tabel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20" name="Tijdelijke aanduiding voor tekst 8 (JU-Free)">
            <a:extLst>
              <a:ext uri="{FF2B5EF4-FFF2-40B4-BE49-F238E27FC236}">
                <a16:creationId xmlns:a16="http://schemas.microsoft.com/office/drawing/2014/main" id="{5C8AC3AA-C528-4E88-B62A-E9CC8472E2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88101" y="2144209"/>
            <a:ext cx="4910400" cy="344795"/>
          </a:xfrm>
        </p:spPr>
        <p:txBody>
          <a:bodyPr numCol="1" spcCol="360000"/>
          <a:lstStyle>
            <a:lvl1pPr marL="0" indent="0" algn="l">
              <a:lnSpc>
                <a:spcPct val="90000"/>
              </a:lnSpc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 dirty="0"/>
              <a:t>[Titel grafiek]</a:t>
            </a:r>
          </a:p>
          <a:p>
            <a:pPr lvl="0"/>
            <a:r>
              <a:rPr lang="nl-NL" dirty="0"/>
              <a:t>JU-LEVEL1=Titel</a:t>
            </a:r>
          </a:p>
        </p:txBody>
      </p:sp>
      <p:sp>
        <p:nvSpPr>
          <p:cNvPr id="8" name="Tijdelijke aanduiding voor tabel 7">
            <a:extLst>
              <a:ext uri="{FF2B5EF4-FFF2-40B4-BE49-F238E27FC236}">
                <a16:creationId xmlns:a16="http://schemas.microsoft.com/office/drawing/2014/main" id="{7D61FFD2-E5DF-4C1E-A747-330D2B20A7FB}"/>
              </a:ext>
            </a:extLst>
          </p:cNvPr>
          <p:cNvSpPr>
            <a:spLocks noGrp="1" noSelect="1"/>
          </p:cNvSpPr>
          <p:nvPr>
            <p:ph type="tbl" sz="quarter" idx="23" hasCustomPrompt="1"/>
          </p:nvPr>
        </p:nvSpPr>
        <p:spPr bwMode="gray">
          <a:xfrm>
            <a:off x="787399" y="2706124"/>
            <a:ext cx="4910400" cy="2316163"/>
          </a:xfrm>
        </p:spPr>
        <p:txBody>
          <a:bodyPr/>
          <a:lstStyle>
            <a:lvl1pPr marL="43200" indent="0">
              <a:buNone/>
              <a:defRPr/>
            </a:lvl1pPr>
          </a:lstStyle>
          <a:p>
            <a:r>
              <a:rPr lang="nl-NL"/>
              <a:t>[Klik op het pictogram om een tabel in te voegen]</a:t>
            </a:r>
            <a:endParaRPr lang="nl-NL" dirty="0"/>
          </a:p>
        </p:txBody>
      </p:sp>
      <p:sp>
        <p:nvSpPr>
          <p:cNvPr id="15" name="Tijdelijke aanduiding voor tekst 8 (JU-Free)">
            <a:extLst>
              <a:ext uri="{FF2B5EF4-FFF2-40B4-BE49-F238E27FC236}">
                <a16:creationId xmlns:a16="http://schemas.microsoft.com/office/drawing/2014/main" id="{FE8ACB8F-5569-440B-87D0-5F04EB1C78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533003" y="2144209"/>
            <a:ext cx="4910400" cy="344795"/>
          </a:xfrm>
        </p:spPr>
        <p:txBody>
          <a:bodyPr numCol="1" spcCol="360000"/>
          <a:lstStyle>
            <a:lvl1pPr marL="0" indent="0" algn="l">
              <a:lnSpc>
                <a:spcPct val="90000"/>
              </a:lnSpc>
              <a:buNone/>
              <a:defRPr sz="1200" b="1">
                <a:solidFill>
                  <a:schemeClr val="tx2"/>
                </a:solidFill>
                <a:latin typeface="+mj-lt"/>
              </a:defRPr>
            </a:lvl1pPr>
            <a:lvl2pPr marL="230400" indent="0" algn="ctr"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32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230400" marR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aa-ET" sz="32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/>
            <a:r>
              <a:rPr lang="nl-NL" dirty="0"/>
              <a:t>[Titel grafiek]</a:t>
            </a:r>
          </a:p>
          <a:p>
            <a:pPr lvl="0"/>
            <a:r>
              <a:rPr lang="nl-NL" dirty="0"/>
              <a:t>JU-LEVEL1=Titel</a:t>
            </a:r>
          </a:p>
        </p:txBody>
      </p:sp>
      <p:sp>
        <p:nvSpPr>
          <p:cNvPr id="16" name="Tijdelijke aanduiding voor tabel 7">
            <a:extLst>
              <a:ext uri="{FF2B5EF4-FFF2-40B4-BE49-F238E27FC236}">
                <a16:creationId xmlns:a16="http://schemas.microsoft.com/office/drawing/2014/main" id="{00FB0AF5-62F1-4316-921E-DB351EA1FF60}"/>
              </a:ext>
            </a:extLst>
          </p:cNvPr>
          <p:cNvSpPr>
            <a:spLocks noGrp="1" noSelect="1"/>
          </p:cNvSpPr>
          <p:nvPr>
            <p:ph type="tbl" sz="quarter" idx="25" hasCustomPrompt="1"/>
          </p:nvPr>
        </p:nvSpPr>
        <p:spPr bwMode="gray">
          <a:xfrm>
            <a:off x="6532301" y="2706124"/>
            <a:ext cx="4910400" cy="2316163"/>
          </a:xfrm>
        </p:spPr>
        <p:txBody>
          <a:bodyPr/>
          <a:lstStyle>
            <a:lvl1pPr marL="43200" indent="0">
              <a:buNone/>
              <a:defRPr/>
            </a:lvl1pPr>
          </a:lstStyle>
          <a:p>
            <a:r>
              <a:rPr lang="nl-NL"/>
              <a:t>[Klik op het pictogram om een tabel in te voegen]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26"/>
          </p:nvPr>
        </p:nvSpPr>
        <p:spPr/>
        <p:txBody>
          <a:bodyPr/>
          <a:lstStyle/>
          <a:p>
            <a:fld id="{EC25263A-4648-405F-A309-643C8ED27A24}" type="datetime1">
              <a:rPr lang="nl-NL" smtClean="0"/>
              <a:t>23-4-2024</a:t>
            </a:fld>
            <a:endParaRPr lang="nl-NL"/>
          </a:p>
        </p:txBody>
      </p:sp>
      <p:sp>
        <p:nvSpPr>
          <p:cNvPr id="7" name="Tijdelijke aanduiding voor voettekst 6"/>
          <p:cNvSpPr>
            <a:spLocks noGrp="1" noSelect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9" name="Tijdelijke aanduiding voor dianummer 8"/>
          <p:cNvSpPr>
            <a:spLocks noGrp="1" noSelect="1"/>
          </p:cNvSpPr>
          <p:nvPr>
            <p:ph type="sldNum" sz="quarter" idx="28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281872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hoofdstuk met 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>
            <a:extLst>
              <a:ext uri="{FF2B5EF4-FFF2-40B4-BE49-F238E27FC236}">
                <a16:creationId xmlns:a16="http://schemas.microsoft.com/office/drawing/2014/main" id="{8D561475-C629-4D59-89D4-74EEF2DA99C2}"/>
              </a:ext>
            </a:extLst>
          </p:cNvPr>
          <p:cNvSpPr>
            <a:spLocks noSelect="1" noChangeArrowheads="1"/>
          </p:cNvSpPr>
          <p:nvPr/>
        </p:nvSpPr>
        <p:spPr bwMode="gray">
          <a:xfrm>
            <a:off x="0" y="-1"/>
            <a:ext cx="12192000" cy="6095999"/>
          </a:xfrm>
          <a:prstGeom prst="rect">
            <a:avLst/>
          </a:prstGeom>
          <a:solidFill>
            <a:srgbClr val="45156C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2" name="***Titel 1"/>
          <p:cNvSpPr>
            <a:spLocks noGrp="1" noSelect="1"/>
          </p:cNvSpPr>
          <p:nvPr>
            <p:ph type="ctrTitle" hasCustomPrompt="1"/>
          </p:nvPr>
        </p:nvSpPr>
        <p:spPr bwMode="gray">
          <a:xfrm>
            <a:off x="764513" y="1782233"/>
            <a:ext cx="7651354" cy="1248833"/>
          </a:xfrm>
        </p:spPr>
        <p:txBody>
          <a:bodyPr anchor="b" anchorCtr="0"/>
          <a:lstStyle>
            <a:lvl1pPr algn="l">
              <a:defRPr sz="4600"/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3" name="Ondertitel 2"/>
          <p:cNvSpPr>
            <a:spLocks noGrp="1" noSelect="1"/>
          </p:cNvSpPr>
          <p:nvPr>
            <p:ph type="subTitle" idx="1" hasCustomPrompt="1"/>
          </p:nvPr>
        </p:nvSpPr>
        <p:spPr bwMode="gray">
          <a:xfrm>
            <a:off x="760281" y="3132666"/>
            <a:ext cx="7651354" cy="711201"/>
          </a:xfrm>
        </p:spPr>
        <p:txBody>
          <a:bodyPr/>
          <a:lstStyle>
            <a:lvl1pPr marL="0" indent="0" algn="l">
              <a:buNone/>
              <a:defRPr sz="2500" spc="0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[Subtitel]</a:t>
            </a:r>
          </a:p>
        </p:txBody>
      </p:sp>
      <p:sp>
        <p:nvSpPr>
          <p:cNvPr id="4" name="Tijdelijke aanduiding voor datum 3"/>
          <p:cNvSpPr>
            <a:spLocks noGrp="1" noSelect="1"/>
          </p:cNvSpPr>
          <p:nvPr>
            <p:ph type="dt" sz="half" idx="10"/>
          </p:nvPr>
        </p:nvSpPr>
        <p:spPr/>
        <p:txBody>
          <a:bodyPr/>
          <a:lstStyle/>
          <a:p>
            <a:fld id="{809919A2-FBD9-4C8C-A46B-1C1F6BC76833}" type="datetime1">
              <a:rPr lang="nl-NL" smtClean="0"/>
              <a:t>23-4-2024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 noSelect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6" name="Tijdelijke aanduiding voor dianummer 5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003286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fslu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4">
            <a:extLst>
              <a:ext uri="{FF2B5EF4-FFF2-40B4-BE49-F238E27FC236}">
                <a16:creationId xmlns:a16="http://schemas.microsoft.com/office/drawing/2014/main" id="{8447325C-466A-4493-8DC3-A4985BF7FA48}"/>
              </a:ext>
            </a:extLst>
          </p:cNvPr>
          <p:cNvGrpSpPr>
            <a:grpSpLocks noSelect="1" noChangeAspect="1"/>
          </p:cNvGrpSpPr>
          <p:nvPr/>
        </p:nvGrpSpPr>
        <p:grpSpPr bwMode="gray">
          <a:xfrm>
            <a:off x="0" y="0"/>
            <a:ext cx="11430000" cy="6454775"/>
            <a:chOff x="0" y="0"/>
            <a:chExt cx="7200" cy="4066"/>
          </a:xfrm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22F526CF-2292-481C-A964-AE12B51CEDA4}"/>
                </a:ext>
              </a:extLst>
            </p:cNvPr>
            <p:cNvSpPr>
              <a:spLocks noSelect="1" noChangeArrowheads="1"/>
            </p:cNvSpPr>
            <p:nvPr/>
          </p:nvSpPr>
          <p:spPr bwMode="gray">
            <a:xfrm>
              <a:off x="0" y="0"/>
              <a:ext cx="4800" cy="2880"/>
            </a:xfrm>
            <a:prstGeom prst="rect">
              <a:avLst/>
            </a:prstGeom>
            <a:solidFill>
              <a:srgbClr val="45156C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10036E4-2477-45E6-A115-C79800BB873F}"/>
                </a:ext>
              </a:extLst>
            </p:cNvPr>
            <p:cNvSpPr>
              <a:spLocks noSelect="1"/>
            </p:cNvSpPr>
            <p:nvPr/>
          </p:nvSpPr>
          <p:spPr bwMode="gray">
            <a:xfrm>
              <a:off x="6240" y="3842"/>
              <a:ext cx="960" cy="224"/>
            </a:xfrm>
            <a:custGeom>
              <a:avLst/>
              <a:gdLst>
                <a:gd name="T0" fmla="*/ 2365 w 4801"/>
                <a:gd name="T1" fmla="*/ 130 h 1123"/>
                <a:gd name="T2" fmla="*/ 1944 w 4801"/>
                <a:gd name="T3" fmla="*/ 992 h 1123"/>
                <a:gd name="T4" fmla="*/ 2218 w 4801"/>
                <a:gd name="T5" fmla="*/ 806 h 1123"/>
                <a:gd name="T6" fmla="*/ 2706 w 4801"/>
                <a:gd name="T7" fmla="*/ 992 h 1123"/>
                <a:gd name="T8" fmla="*/ 2537 w 4801"/>
                <a:gd name="T9" fmla="*/ 164 h 1123"/>
                <a:gd name="T10" fmla="*/ 2279 w 4801"/>
                <a:gd name="T11" fmla="*/ 661 h 1123"/>
                <a:gd name="T12" fmla="*/ 2569 w 4801"/>
                <a:gd name="T13" fmla="*/ 661 h 1123"/>
                <a:gd name="T14" fmla="*/ 3047 w 4801"/>
                <a:gd name="T15" fmla="*/ 130 h 1123"/>
                <a:gd name="T16" fmla="*/ 3639 w 4801"/>
                <a:gd name="T17" fmla="*/ 227 h 1123"/>
                <a:gd name="T18" fmla="*/ 3183 w 4801"/>
                <a:gd name="T19" fmla="*/ 283 h 1123"/>
                <a:gd name="T20" fmla="*/ 3586 w 4801"/>
                <a:gd name="T21" fmla="*/ 522 h 1123"/>
                <a:gd name="T22" fmla="*/ 3183 w 4801"/>
                <a:gd name="T23" fmla="*/ 675 h 1123"/>
                <a:gd name="T24" fmla="*/ 2990 w 4801"/>
                <a:gd name="T25" fmla="*/ 992 h 1123"/>
                <a:gd name="T26" fmla="*/ 3047 w 4801"/>
                <a:gd name="T27" fmla="*/ 130 h 1123"/>
                <a:gd name="T28" fmla="*/ 4801 w 4801"/>
                <a:gd name="T29" fmla="*/ 992 h 1123"/>
                <a:gd name="T30" fmla="*/ 4606 w 4801"/>
                <a:gd name="T31" fmla="*/ 471 h 1123"/>
                <a:gd name="T32" fmla="*/ 4185 w 4801"/>
                <a:gd name="T33" fmla="*/ 837 h 1123"/>
                <a:gd name="T34" fmla="*/ 3945 w 4801"/>
                <a:gd name="T35" fmla="*/ 992 h 1123"/>
                <a:gd name="T36" fmla="*/ 3751 w 4801"/>
                <a:gd name="T37" fmla="*/ 130 h 1123"/>
                <a:gd name="T38" fmla="*/ 3968 w 4801"/>
                <a:gd name="T39" fmla="*/ 179 h 1123"/>
                <a:gd name="T40" fmla="*/ 4584 w 4801"/>
                <a:gd name="T41" fmla="*/ 179 h 1123"/>
                <a:gd name="T42" fmla="*/ 4801 w 4801"/>
                <a:gd name="T43" fmla="*/ 130 h 1123"/>
                <a:gd name="T44" fmla="*/ 1589 w 4801"/>
                <a:gd name="T45" fmla="*/ 561 h 1123"/>
                <a:gd name="T46" fmla="*/ 1106 w 4801"/>
                <a:gd name="T47" fmla="*/ 250 h 1123"/>
                <a:gd name="T48" fmla="*/ 484 w 4801"/>
                <a:gd name="T49" fmla="*/ 250 h 1123"/>
                <a:gd name="T50" fmla="*/ 638 w 4801"/>
                <a:gd name="T51" fmla="*/ 718 h 1123"/>
                <a:gd name="T52" fmla="*/ 949 w 4801"/>
                <a:gd name="T53" fmla="*/ 721 h 1123"/>
                <a:gd name="T54" fmla="*/ 795 w 4801"/>
                <a:gd name="T55" fmla="*/ 905 h 1123"/>
                <a:gd name="T56" fmla="*/ 154 w 4801"/>
                <a:gd name="T57" fmla="*/ 407 h 1123"/>
                <a:gd name="T58" fmla="*/ 795 w 4801"/>
                <a:gd name="T59" fmla="*/ 0 h 1123"/>
                <a:gd name="T60" fmla="*/ 1038 w 4801"/>
                <a:gd name="T61" fmla="*/ 318 h 1123"/>
                <a:gd name="T62" fmla="*/ 1192 w 4801"/>
                <a:gd name="T63" fmla="*/ 958 h 1123"/>
                <a:gd name="T64" fmla="*/ 398 w 4801"/>
                <a:gd name="T65" fmla="*/ 958 h 1123"/>
                <a:gd name="T66" fmla="*/ 87 w 4801"/>
                <a:gd name="T67" fmla="*/ 475 h 1123"/>
                <a:gd name="T68" fmla="*/ 795 w 4801"/>
                <a:gd name="T69" fmla="*/ 1001 h 1123"/>
                <a:gd name="T70" fmla="*/ 1263 w 4801"/>
                <a:gd name="T71" fmla="*/ 715 h 1123"/>
                <a:gd name="T72" fmla="*/ 795 w 4801"/>
                <a:gd name="T73" fmla="*/ 339 h 1123"/>
                <a:gd name="T74" fmla="*/ 555 w 4801"/>
                <a:gd name="T75" fmla="*/ 315 h 1123"/>
                <a:gd name="T76" fmla="*/ 1038 w 4801"/>
                <a:gd name="T77" fmla="*/ 31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01" h="1123">
                  <a:moveTo>
                    <a:pt x="2485" y="130"/>
                  </a:moveTo>
                  <a:cubicBezTo>
                    <a:pt x="2365" y="130"/>
                    <a:pt x="2365" y="130"/>
                    <a:pt x="2365" y="130"/>
                  </a:cubicBezTo>
                  <a:cubicBezTo>
                    <a:pt x="2343" y="130"/>
                    <a:pt x="2323" y="143"/>
                    <a:pt x="2314" y="164"/>
                  </a:cubicBezTo>
                  <a:cubicBezTo>
                    <a:pt x="1944" y="992"/>
                    <a:pt x="1944" y="992"/>
                    <a:pt x="1944" y="992"/>
                  </a:cubicBezTo>
                  <a:cubicBezTo>
                    <a:pt x="2141" y="992"/>
                    <a:pt x="2141" y="992"/>
                    <a:pt x="2141" y="992"/>
                  </a:cubicBezTo>
                  <a:cubicBezTo>
                    <a:pt x="2218" y="806"/>
                    <a:pt x="2218" y="806"/>
                    <a:pt x="2218" y="806"/>
                  </a:cubicBezTo>
                  <a:cubicBezTo>
                    <a:pt x="2628" y="806"/>
                    <a:pt x="2628" y="806"/>
                    <a:pt x="2628" y="806"/>
                  </a:cubicBezTo>
                  <a:cubicBezTo>
                    <a:pt x="2706" y="992"/>
                    <a:pt x="2706" y="992"/>
                    <a:pt x="2706" y="992"/>
                  </a:cubicBezTo>
                  <a:cubicBezTo>
                    <a:pt x="2907" y="992"/>
                    <a:pt x="2907" y="992"/>
                    <a:pt x="2907" y="992"/>
                  </a:cubicBezTo>
                  <a:cubicBezTo>
                    <a:pt x="2537" y="164"/>
                    <a:pt x="2537" y="164"/>
                    <a:pt x="2537" y="164"/>
                  </a:cubicBezTo>
                  <a:cubicBezTo>
                    <a:pt x="2528" y="143"/>
                    <a:pt x="2507" y="130"/>
                    <a:pt x="2485" y="130"/>
                  </a:cubicBezTo>
                  <a:close/>
                  <a:moveTo>
                    <a:pt x="2279" y="661"/>
                  </a:moveTo>
                  <a:cubicBezTo>
                    <a:pt x="2424" y="312"/>
                    <a:pt x="2424" y="312"/>
                    <a:pt x="2424" y="312"/>
                  </a:cubicBezTo>
                  <a:cubicBezTo>
                    <a:pt x="2569" y="661"/>
                    <a:pt x="2569" y="661"/>
                    <a:pt x="2569" y="661"/>
                  </a:cubicBezTo>
                  <a:lnTo>
                    <a:pt x="2279" y="661"/>
                  </a:lnTo>
                  <a:close/>
                  <a:moveTo>
                    <a:pt x="3047" y="130"/>
                  </a:moveTo>
                  <a:cubicBezTo>
                    <a:pt x="3639" y="130"/>
                    <a:pt x="3639" y="130"/>
                    <a:pt x="3639" y="130"/>
                  </a:cubicBezTo>
                  <a:cubicBezTo>
                    <a:pt x="3639" y="227"/>
                    <a:pt x="3639" y="227"/>
                    <a:pt x="3639" y="227"/>
                  </a:cubicBezTo>
                  <a:cubicBezTo>
                    <a:pt x="3639" y="258"/>
                    <a:pt x="3614" y="283"/>
                    <a:pt x="3583" y="283"/>
                  </a:cubicBezTo>
                  <a:cubicBezTo>
                    <a:pt x="3183" y="283"/>
                    <a:pt x="3183" y="283"/>
                    <a:pt x="3183" y="283"/>
                  </a:cubicBezTo>
                  <a:cubicBezTo>
                    <a:pt x="3183" y="522"/>
                    <a:pt x="3183" y="522"/>
                    <a:pt x="3183" y="522"/>
                  </a:cubicBezTo>
                  <a:cubicBezTo>
                    <a:pt x="3586" y="522"/>
                    <a:pt x="3586" y="522"/>
                    <a:pt x="3586" y="522"/>
                  </a:cubicBezTo>
                  <a:cubicBezTo>
                    <a:pt x="3586" y="675"/>
                    <a:pt x="3586" y="675"/>
                    <a:pt x="3586" y="675"/>
                  </a:cubicBezTo>
                  <a:cubicBezTo>
                    <a:pt x="3183" y="675"/>
                    <a:pt x="3183" y="675"/>
                    <a:pt x="3183" y="675"/>
                  </a:cubicBezTo>
                  <a:cubicBezTo>
                    <a:pt x="3183" y="992"/>
                    <a:pt x="3183" y="992"/>
                    <a:pt x="3183" y="992"/>
                  </a:cubicBezTo>
                  <a:cubicBezTo>
                    <a:pt x="2990" y="992"/>
                    <a:pt x="2990" y="992"/>
                    <a:pt x="2990" y="992"/>
                  </a:cubicBezTo>
                  <a:cubicBezTo>
                    <a:pt x="2990" y="187"/>
                    <a:pt x="2990" y="187"/>
                    <a:pt x="2990" y="187"/>
                  </a:cubicBezTo>
                  <a:cubicBezTo>
                    <a:pt x="2990" y="156"/>
                    <a:pt x="3015" y="130"/>
                    <a:pt x="3047" y="130"/>
                  </a:cubicBezTo>
                  <a:close/>
                  <a:moveTo>
                    <a:pt x="4801" y="130"/>
                  </a:moveTo>
                  <a:cubicBezTo>
                    <a:pt x="4801" y="992"/>
                    <a:pt x="4801" y="992"/>
                    <a:pt x="4801" y="992"/>
                  </a:cubicBezTo>
                  <a:cubicBezTo>
                    <a:pt x="4606" y="992"/>
                    <a:pt x="4606" y="992"/>
                    <a:pt x="4606" y="992"/>
                  </a:cubicBezTo>
                  <a:cubicBezTo>
                    <a:pt x="4606" y="471"/>
                    <a:pt x="4606" y="471"/>
                    <a:pt x="4606" y="471"/>
                  </a:cubicBezTo>
                  <a:cubicBezTo>
                    <a:pt x="4367" y="837"/>
                    <a:pt x="4367" y="837"/>
                    <a:pt x="4367" y="837"/>
                  </a:cubicBezTo>
                  <a:cubicBezTo>
                    <a:pt x="4185" y="837"/>
                    <a:pt x="4185" y="837"/>
                    <a:pt x="4185" y="837"/>
                  </a:cubicBezTo>
                  <a:cubicBezTo>
                    <a:pt x="3945" y="471"/>
                    <a:pt x="3945" y="471"/>
                    <a:pt x="3945" y="471"/>
                  </a:cubicBezTo>
                  <a:cubicBezTo>
                    <a:pt x="3945" y="992"/>
                    <a:pt x="3945" y="992"/>
                    <a:pt x="3945" y="992"/>
                  </a:cubicBezTo>
                  <a:cubicBezTo>
                    <a:pt x="3751" y="992"/>
                    <a:pt x="3751" y="992"/>
                    <a:pt x="3751" y="992"/>
                  </a:cubicBezTo>
                  <a:cubicBezTo>
                    <a:pt x="3751" y="130"/>
                    <a:pt x="3751" y="130"/>
                    <a:pt x="3751" y="130"/>
                  </a:cubicBezTo>
                  <a:cubicBezTo>
                    <a:pt x="3875" y="130"/>
                    <a:pt x="3875" y="130"/>
                    <a:pt x="3875" y="130"/>
                  </a:cubicBezTo>
                  <a:cubicBezTo>
                    <a:pt x="3911" y="130"/>
                    <a:pt x="3949" y="150"/>
                    <a:pt x="3968" y="179"/>
                  </a:cubicBezTo>
                  <a:cubicBezTo>
                    <a:pt x="4276" y="662"/>
                    <a:pt x="4276" y="662"/>
                    <a:pt x="4276" y="662"/>
                  </a:cubicBezTo>
                  <a:cubicBezTo>
                    <a:pt x="4584" y="179"/>
                    <a:pt x="4584" y="179"/>
                    <a:pt x="4584" y="179"/>
                  </a:cubicBezTo>
                  <a:cubicBezTo>
                    <a:pt x="4602" y="150"/>
                    <a:pt x="4640" y="130"/>
                    <a:pt x="4677" y="130"/>
                  </a:cubicBezTo>
                  <a:lnTo>
                    <a:pt x="4801" y="130"/>
                  </a:lnTo>
                  <a:close/>
                  <a:moveTo>
                    <a:pt x="1192" y="164"/>
                  </a:moveTo>
                  <a:cubicBezTo>
                    <a:pt x="1589" y="561"/>
                    <a:pt x="1589" y="561"/>
                    <a:pt x="1589" y="561"/>
                  </a:cubicBezTo>
                  <a:cubicBezTo>
                    <a:pt x="1503" y="647"/>
                    <a:pt x="1503" y="647"/>
                    <a:pt x="1503" y="647"/>
                  </a:cubicBezTo>
                  <a:cubicBezTo>
                    <a:pt x="1106" y="250"/>
                    <a:pt x="1106" y="250"/>
                    <a:pt x="1106" y="250"/>
                  </a:cubicBezTo>
                  <a:cubicBezTo>
                    <a:pt x="1023" y="167"/>
                    <a:pt x="912" y="121"/>
                    <a:pt x="795" y="121"/>
                  </a:cubicBezTo>
                  <a:cubicBezTo>
                    <a:pt x="677" y="121"/>
                    <a:pt x="567" y="167"/>
                    <a:pt x="484" y="250"/>
                  </a:cubicBezTo>
                  <a:cubicBezTo>
                    <a:pt x="327" y="407"/>
                    <a:pt x="327" y="407"/>
                    <a:pt x="327" y="407"/>
                  </a:cubicBezTo>
                  <a:cubicBezTo>
                    <a:pt x="638" y="718"/>
                    <a:pt x="638" y="718"/>
                    <a:pt x="638" y="718"/>
                  </a:cubicBezTo>
                  <a:cubicBezTo>
                    <a:pt x="680" y="760"/>
                    <a:pt x="735" y="783"/>
                    <a:pt x="795" y="783"/>
                  </a:cubicBezTo>
                  <a:cubicBezTo>
                    <a:pt x="853" y="783"/>
                    <a:pt x="907" y="761"/>
                    <a:pt x="949" y="721"/>
                  </a:cubicBezTo>
                  <a:cubicBezTo>
                    <a:pt x="1035" y="808"/>
                    <a:pt x="1035" y="808"/>
                    <a:pt x="1035" y="808"/>
                  </a:cubicBezTo>
                  <a:cubicBezTo>
                    <a:pt x="970" y="871"/>
                    <a:pt x="885" y="905"/>
                    <a:pt x="795" y="905"/>
                  </a:cubicBezTo>
                  <a:cubicBezTo>
                    <a:pt x="703" y="905"/>
                    <a:pt x="616" y="869"/>
                    <a:pt x="552" y="805"/>
                  </a:cubicBezTo>
                  <a:cubicBezTo>
                    <a:pt x="154" y="407"/>
                    <a:pt x="154" y="407"/>
                    <a:pt x="154" y="407"/>
                  </a:cubicBezTo>
                  <a:cubicBezTo>
                    <a:pt x="398" y="164"/>
                    <a:pt x="398" y="164"/>
                    <a:pt x="398" y="164"/>
                  </a:cubicBezTo>
                  <a:cubicBezTo>
                    <a:pt x="504" y="58"/>
                    <a:pt x="645" y="0"/>
                    <a:pt x="795" y="0"/>
                  </a:cubicBezTo>
                  <a:cubicBezTo>
                    <a:pt x="945" y="0"/>
                    <a:pt x="1086" y="58"/>
                    <a:pt x="1192" y="164"/>
                  </a:cubicBezTo>
                  <a:close/>
                  <a:moveTo>
                    <a:pt x="1038" y="318"/>
                  </a:moveTo>
                  <a:cubicBezTo>
                    <a:pt x="1435" y="715"/>
                    <a:pt x="1435" y="715"/>
                    <a:pt x="1435" y="715"/>
                  </a:cubicBezTo>
                  <a:cubicBezTo>
                    <a:pt x="1192" y="958"/>
                    <a:pt x="1192" y="958"/>
                    <a:pt x="1192" y="958"/>
                  </a:cubicBezTo>
                  <a:cubicBezTo>
                    <a:pt x="1086" y="1065"/>
                    <a:pt x="945" y="1123"/>
                    <a:pt x="795" y="1123"/>
                  </a:cubicBezTo>
                  <a:cubicBezTo>
                    <a:pt x="645" y="1123"/>
                    <a:pt x="504" y="1065"/>
                    <a:pt x="398" y="958"/>
                  </a:cubicBezTo>
                  <a:cubicBezTo>
                    <a:pt x="0" y="561"/>
                    <a:pt x="0" y="561"/>
                    <a:pt x="0" y="561"/>
                  </a:cubicBezTo>
                  <a:cubicBezTo>
                    <a:pt x="87" y="475"/>
                    <a:pt x="87" y="475"/>
                    <a:pt x="87" y="475"/>
                  </a:cubicBezTo>
                  <a:cubicBezTo>
                    <a:pt x="484" y="872"/>
                    <a:pt x="484" y="872"/>
                    <a:pt x="484" y="872"/>
                  </a:cubicBezTo>
                  <a:cubicBezTo>
                    <a:pt x="567" y="955"/>
                    <a:pt x="677" y="1001"/>
                    <a:pt x="795" y="1001"/>
                  </a:cubicBezTo>
                  <a:cubicBezTo>
                    <a:pt x="912" y="1001"/>
                    <a:pt x="1023" y="955"/>
                    <a:pt x="1106" y="872"/>
                  </a:cubicBezTo>
                  <a:cubicBezTo>
                    <a:pt x="1263" y="715"/>
                    <a:pt x="1263" y="715"/>
                    <a:pt x="1263" y="715"/>
                  </a:cubicBezTo>
                  <a:cubicBezTo>
                    <a:pt x="952" y="404"/>
                    <a:pt x="952" y="404"/>
                    <a:pt x="952" y="404"/>
                  </a:cubicBezTo>
                  <a:cubicBezTo>
                    <a:pt x="910" y="362"/>
                    <a:pt x="854" y="339"/>
                    <a:pt x="795" y="339"/>
                  </a:cubicBezTo>
                  <a:cubicBezTo>
                    <a:pt x="737" y="339"/>
                    <a:pt x="682" y="361"/>
                    <a:pt x="641" y="401"/>
                  </a:cubicBezTo>
                  <a:cubicBezTo>
                    <a:pt x="555" y="315"/>
                    <a:pt x="555" y="315"/>
                    <a:pt x="555" y="315"/>
                  </a:cubicBezTo>
                  <a:cubicBezTo>
                    <a:pt x="619" y="252"/>
                    <a:pt x="704" y="217"/>
                    <a:pt x="795" y="217"/>
                  </a:cubicBezTo>
                  <a:cubicBezTo>
                    <a:pt x="887" y="217"/>
                    <a:pt x="973" y="253"/>
                    <a:pt x="1038" y="318"/>
                  </a:cubicBezTo>
                  <a:close/>
                </a:path>
              </a:pathLst>
            </a:custGeom>
            <a:solidFill>
              <a:srgbClr val="451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</p:grpSp>
      <p:sp>
        <p:nvSpPr>
          <p:cNvPr id="2" name="***Titel 1"/>
          <p:cNvSpPr>
            <a:spLocks noGrp="1" noSelect="1"/>
          </p:cNvSpPr>
          <p:nvPr>
            <p:ph type="ctrTitle" hasCustomPrompt="1"/>
          </p:nvPr>
        </p:nvSpPr>
        <p:spPr bwMode="gray">
          <a:xfrm>
            <a:off x="766631" y="1675497"/>
            <a:ext cx="6294569" cy="758669"/>
          </a:xfrm>
        </p:spPr>
        <p:txBody>
          <a:bodyPr anchor="b" anchorCtr="0">
            <a:spAutoFit/>
          </a:bodyPr>
          <a:lstStyle>
            <a:lvl1pPr algn="l">
              <a:defRPr sz="5800"/>
            </a:lvl1pPr>
          </a:lstStyle>
          <a:p>
            <a:r>
              <a:rPr lang="nl-NL" dirty="0"/>
              <a:t>[Dankwoord]</a:t>
            </a:r>
          </a:p>
        </p:txBody>
      </p:sp>
      <p:sp>
        <p:nvSpPr>
          <p:cNvPr id="3" name="Ondertitel 2"/>
          <p:cNvSpPr>
            <a:spLocks noGrp="1" noSelect="1"/>
          </p:cNvSpPr>
          <p:nvPr>
            <p:ph type="subTitle" idx="1" hasCustomPrompt="1"/>
          </p:nvPr>
        </p:nvSpPr>
        <p:spPr bwMode="gray">
          <a:xfrm>
            <a:off x="764513" y="2504017"/>
            <a:ext cx="6300919" cy="492443"/>
          </a:xfrm>
        </p:spPr>
        <p:txBody>
          <a:bodyPr>
            <a:spAutoFit/>
          </a:bodyPr>
          <a:lstStyle>
            <a:lvl1pPr marL="0" indent="0" algn="l">
              <a:buNone/>
              <a:defRPr sz="3200" b="1" spc="0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[Spreker: Naam]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D2D97605-E285-47E8-A0C0-EE5374303AC3}"/>
              </a:ext>
            </a:extLst>
          </p:cNvPr>
          <p:cNvSpPr txBox="1">
            <a:spLocks noSelect="1"/>
          </p:cNvSpPr>
          <p:nvPr/>
        </p:nvSpPr>
        <p:spPr bwMode="gray">
          <a:xfrm>
            <a:off x="760376" y="5245306"/>
            <a:ext cx="3555999" cy="6150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8000"/>
              </a:lnSpc>
            </a:pPr>
            <a:r>
              <a:rPr lang="nl-NL" sz="2100" b="1" dirty="0">
                <a:solidFill>
                  <a:schemeClr val="tx2"/>
                </a:solidFill>
                <a:latin typeface="+mj-lt"/>
              </a:rPr>
              <a:t>Autoriteit Financiële Markten</a:t>
            </a:r>
          </a:p>
          <a:p>
            <a:pPr>
              <a:lnSpc>
                <a:spcPct val="88000"/>
              </a:lnSpc>
            </a:pPr>
            <a:r>
              <a:rPr lang="nl-NL" dirty="0">
                <a:solidFill>
                  <a:schemeClr val="tx2"/>
                </a:solidFill>
                <a:latin typeface="+mj-lt"/>
              </a:rPr>
              <a:t>Postbus 11723, 1001 GS Amsterdam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28CF576-54C8-4BC6-B2DB-07C78EFDEB36}"/>
              </a:ext>
            </a:extLst>
          </p:cNvPr>
          <p:cNvSpPr txBox="1">
            <a:spLocks noSelect="1"/>
          </p:cNvSpPr>
          <p:nvPr/>
        </p:nvSpPr>
        <p:spPr bwMode="gray">
          <a:xfrm>
            <a:off x="5027581" y="5283677"/>
            <a:ext cx="2370743" cy="576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8000"/>
              </a:lnSpc>
            </a:pPr>
            <a:r>
              <a:rPr lang="nl-NL" sz="1800" b="0" dirty="0">
                <a:solidFill>
                  <a:schemeClr val="tx2"/>
                </a:solidFill>
                <a:latin typeface="+mj-lt"/>
              </a:rPr>
              <a:t>Telefoon: 020 797 2000</a:t>
            </a:r>
          </a:p>
          <a:p>
            <a:pPr>
              <a:lnSpc>
                <a:spcPct val="88000"/>
              </a:lnSpc>
            </a:pPr>
            <a:r>
              <a:rPr lang="nl-NL" sz="1800" b="0" dirty="0">
                <a:solidFill>
                  <a:schemeClr val="tx2"/>
                </a:solidFill>
                <a:latin typeface="+mj-lt"/>
              </a:rPr>
              <a:t>www.afm.nl</a:t>
            </a:r>
          </a:p>
        </p:txBody>
      </p:sp>
      <p:sp>
        <p:nvSpPr>
          <p:cNvPr id="4" name="Tijdelijke aanduiding voor datum 3"/>
          <p:cNvSpPr>
            <a:spLocks noGrp="1" noSelect="1"/>
          </p:cNvSpPr>
          <p:nvPr>
            <p:ph type="dt" sz="half" idx="10"/>
          </p:nvPr>
        </p:nvSpPr>
        <p:spPr/>
        <p:txBody>
          <a:bodyPr/>
          <a:lstStyle/>
          <a:p>
            <a:fld id="{8EE9E486-29C5-4367-8EAC-A15AD643E720}" type="datetime1">
              <a:rPr lang="nl-NL" smtClean="0"/>
              <a:t>23-4-2024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 noSelect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7" name="Tijdelijke aanduiding voor dianummer 6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27829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6" name="Tijdelijke aanduiding voor datum 5"/>
          <p:cNvSpPr>
            <a:spLocks noGrp="1" noSelect="1"/>
          </p:cNvSpPr>
          <p:nvPr>
            <p:ph type="dt" sz="half" idx="10"/>
          </p:nvPr>
        </p:nvSpPr>
        <p:spPr/>
        <p:txBody>
          <a:bodyPr/>
          <a:lstStyle/>
          <a:p>
            <a:fld id="{B9C6069F-D5C5-4F39-9C73-8BF6D9AFE336}" type="datetime1">
              <a:rPr lang="nl-NL" smtClean="0"/>
              <a:t>23-4-2024</a:t>
            </a:fld>
            <a:endParaRPr lang="nl-NL"/>
          </a:p>
        </p:txBody>
      </p:sp>
      <p:sp>
        <p:nvSpPr>
          <p:cNvPr id="7" name="Tijdelijke aanduiding voor voettekst 6"/>
          <p:cNvSpPr>
            <a:spLocks noGrp="1" noSelect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8" name="Tijdelijke aanduiding voor dianummer 7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51417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atum 4"/>
          <p:cNvSpPr>
            <a:spLocks noGrp="1" noSelect="1"/>
          </p:cNvSpPr>
          <p:nvPr>
            <p:ph type="dt" sz="half" idx="10"/>
          </p:nvPr>
        </p:nvSpPr>
        <p:spPr/>
        <p:txBody>
          <a:bodyPr/>
          <a:lstStyle/>
          <a:p>
            <a:fld id="{D61EF51E-3E61-463E-962F-3898448BBDE2}" type="datetime1">
              <a:rPr lang="nl-NL" smtClean="0"/>
              <a:t>23-4-2024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 noSelect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7" name="Tijdelijke aanduiding voor dianummer 6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934030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enings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8">
            <a:extLst>
              <a:ext uri="{FF2B5EF4-FFF2-40B4-BE49-F238E27FC236}">
                <a16:creationId xmlns:a16="http://schemas.microsoft.com/office/drawing/2014/main" id="{DA3935DE-25EA-45DF-BC76-ACC2C114BCE6}"/>
              </a:ext>
            </a:extLst>
          </p:cNvPr>
          <p:cNvSpPr>
            <a:spLocks noGrp="1" noSelect="1"/>
          </p:cNvSpPr>
          <p:nvPr>
            <p:ph type="pic" idx="13" hasCustomPrompt="1"/>
          </p:nvPr>
        </p:nvSpPr>
        <p:spPr bwMode="gray">
          <a:xfrm>
            <a:off x="762120" y="0"/>
            <a:ext cx="11430000" cy="3825720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5CB9B9EA-4AE2-4128-815E-AC71F883CB62}"/>
              </a:ext>
            </a:extLst>
          </p:cNvPr>
          <p:cNvSpPr>
            <a:spLocks noSelect="1"/>
          </p:cNvSpPr>
          <p:nvPr/>
        </p:nvSpPr>
        <p:spPr bwMode="gray">
          <a:xfrm>
            <a:off x="9906000" y="6099175"/>
            <a:ext cx="1524000" cy="355600"/>
          </a:xfrm>
          <a:custGeom>
            <a:avLst/>
            <a:gdLst>
              <a:gd name="T0" fmla="*/ 2365 w 4801"/>
              <a:gd name="T1" fmla="*/ 130 h 1123"/>
              <a:gd name="T2" fmla="*/ 1944 w 4801"/>
              <a:gd name="T3" fmla="*/ 992 h 1123"/>
              <a:gd name="T4" fmla="*/ 2218 w 4801"/>
              <a:gd name="T5" fmla="*/ 806 h 1123"/>
              <a:gd name="T6" fmla="*/ 2706 w 4801"/>
              <a:gd name="T7" fmla="*/ 992 h 1123"/>
              <a:gd name="T8" fmla="*/ 2537 w 4801"/>
              <a:gd name="T9" fmla="*/ 164 h 1123"/>
              <a:gd name="T10" fmla="*/ 2279 w 4801"/>
              <a:gd name="T11" fmla="*/ 661 h 1123"/>
              <a:gd name="T12" fmla="*/ 2569 w 4801"/>
              <a:gd name="T13" fmla="*/ 661 h 1123"/>
              <a:gd name="T14" fmla="*/ 3047 w 4801"/>
              <a:gd name="T15" fmla="*/ 130 h 1123"/>
              <a:gd name="T16" fmla="*/ 3639 w 4801"/>
              <a:gd name="T17" fmla="*/ 227 h 1123"/>
              <a:gd name="T18" fmla="*/ 3183 w 4801"/>
              <a:gd name="T19" fmla="*/ 283 h 1123"/>
              <a:gd name="T20" fmla="*/ 3586 w 4801"/>
              <a:gd name="T21" fmla="*/ 522 h 1123"/>
              <a:gd name="T22" fmla="*/ 3183 w 4801"/>
              <a:gd name="T23" fmla="*/ 675 h 1123"/>
              <a:gd name="T24" fmla="*/ 2990 w 4801"/>
              <a:gd name="T25" fmla="*/ 992 h 1123"/>
              <a:gd name="T26" fmla="*/ 3047 w 4801"/>
              <a:gd name="T27" fmla="*/ 130 h 1123"/>
              <a:gd name="T28" fmla="*/ 4801 w 4801"/>
              <a:gd name="T29" fmla="*/ 992 h 1123"/>
              <a:gd name="T30" fmla="*/ 4606 w 4801"/>
              <a:gd name="T31" fmla="*/ 471 h 1123"/>
              <a:gd name="T32" fmla="*/ 4185 w 4801"/>
              <a:gd name="T33" fmla="*/ 837 h 1123"/>
              <a:gd name="T34" fmla="*/ 3945 w 4801"/>
              <a:gd name="T35" fmla="*/ 992 h 1123"/>
              <a:gd name="T36" fmla="*/ 3751 w 4801"/>
              <a:gd name="T37" fmla="*/ 130 h 1123"/>
              <a:gd name="T38" fmla="*/ 3968 w 4801"/>
              <a:gd name="T39" fmla="*/ 179 h 1123"/>
              <a:gd name="T40" fmla="*/ 4584 w 4801"/>
              <a:gd name="T41" fmla="*/ 179 h 1123"/>
              <a:gd name="T42" fmla="*/ 4801 w 4801"/>
              <a:gd name="T43" fmla="*/ 130 h 1123"/>
              <a:gd name="T44" fmla="*/ 1589 w 4801"/>
              <a:gd name="T45" fmla="*/ 561 h 1123"/>
              <a:gd name="T46" fmla="*/ 1106 w 4801"/>
              <a:gd name="T47" fmla="*/ 250 h 1123"/>
              <a:gd name="T48" fmla="*/ 484 w 4801"/>
              <a:gd name="T49" fmla="*/ 250 h 1123"/>
              <a:gd name="T50" fmla="*/ 638 w 4801"/>
              <a:gd name="T51" fmla="*/ 718 h 1123"/>
              <a:gd name="T52" fmla="*/ 949 w 4801"/>
              <a:gd name="T53" fmla="*/ 721 h 1123"/>
              <a:gd name="T54" fmla="*/ 795 w 4801"/>
              <a:gd name="T55" fmla="*/ 905 h 1123"/>
              <a:gd name="T56" fmla="*/ 154 w 4801"/>
              <a:gd name="T57" fmla="*/ 407 h 1123"/>
              <a:gd name="T58" fmla="*/ 795 w 4801"/>
              <a:gd name="T59" fmla="*/ 0 h 1123"/>
              <a:gd name="T60" fmla="*/ 1038 w 4801"/>
              <a:gd name="T61" fmla="*/ 318 h 1123"/>
              <a:gd name="T62" fmla="*/ 1192 w 4801"/>
              <a:gd name="T63" fmla="*/ 959 h 1123"/>
              <a:gd name="T64" fmla="*/ 398 w 4801"/>
              <a:gd name="T65" fmla="*/ 959 h 1123"/>
              <a:gd name="T66" fmla="*/ 87 w 4801"/>
              <a:gd name="T67" fmla="*/ 475 h 1123"/>
              <a:gd name="T68" fmla="*/ 795 w 4801"/>
              <a:gd name="T69" fmla="*/ 1001 h 1123"/>
              <a:gd name="T70" fmla="*/ 1263 w 4801"/>
              <a:gd name="T71" fmla="*/ 715 h 1123"/>
              <a:gd name="T72" fmla="*/ 795 w 4801"/>
              <a:gd name="T73" fmla="*/ 339 h 1123"/>
              <a:gd name="T74" fmla="*/ 555 w 4801"/>
              <a:gd name="T75" fmla="*/ 315 h 1123"/>
              <a:gd name="T76" fmla="*/ 1038 w 4801"/>
              <a:gd name="T77" fmla="*/ 318 h 1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801" h="1123">
                <a:moveTo>
                  <a:pt x="2485" y="130"/>
                </a:moveTo>
                <a:cubicBezTo>
                  <a:pt x="2365" y="130"/>
                  <a:pt x="2365" y="130"/>
                  <a:pt x="2365" y="130"/>
                </a:cubicBezTo>
                <a:cubicBezTo>
                  <a:pt x="2343" y="130"/>
                  <a:pt x="2323" y="143"/>
                  <a:pt x="2314" y="164"/>
                </a:cubicBezTo>
                <a:cubicBezTo>
                  <a:pt x="1944" y="992"/>
                  <a:pt x="1944" y="992"/>
                  <a:pt x="1944" y="992"/>
                </a:cubicBezTo>
                <a:cubicBezTo>
                  <a:pt x="2141" y="992"/>
                  <a:pt x="2141" y="992"/>
                  <a:pt x="2141" y="992"/>
                </a:cubicBezTo>
                <a:cubicBezTo>
                  <a:pt x="2218" y="806"/>
                  <a:pt x="2218" y="806"/>
                  <a:pt x="2218" y="806"/>
                </a:cubicBezTo>
                <a:cubicBezTo>
                  <a:pt x="2628" y="806"/>
                  <a:pt x="2628" y="806"/>
                  <a:pt x="2628" y="806"/>
                </a:cubicBezTo>
                <a:cubicBezTo>
                  <a:pt x="2706" y="992"/>
                  <a:pt x="2706" y="992"/>
                  <a:pt x="2706" y="992"/>
                </a:cubicBezTo>
                <a:cubicBezTo>
                  <a:pt x="2907" y="992"/>
                  <a:pt x="2907" y="992"/>
                  <a:pt x="2907" y="992"/>
                </a:cubicBezTo>
                <a:cubicBezTo>
                  <a:pt x="2537" y="164"/>
                  <a:pt x="2537" y="164"/>
                  <a:pt x="2537" y="164"/>
                </a:cubicBezTo>
                <a:cubicBezTo>
                  <a:pt x="2528" y="143"/>
                  <a:pt x="2507" y="130"/>
                  <a:pt x="2485" y="130"/>
                </a:cubicBezTo>
                <a:close/>
                <a:moveTo>
                  <a:pt x="2279" y="661"/>
                </a:moveTo>
                <a:cubicBezTo>
                  <a:pt x="2424" y="312"/>
                  <a:pt x="2424" y="312"/>
                  <a:pt x="2424" y="312"/>
                </a:cubicBezTo>
                <a:cubicBezTo>
                  <a:pt x="2569" y="661"/>
                  <a:pt x="2569" y="661"/>
                  <a:pt x="2569" y="661"/>
                </a:cubicBezTo>
                <a:lnTo>
                  <a:pt x="2279" y="661"/>
                </a:lnTo>
                <a:close/>
                <a:moveTo>
                  <a:pt x="3047" y="130"/>
                </a:moveTo>
                <a:cubicBezTo>
                  <a:pt x="3639" y="130"/>
                  <a:pt x="3639" y="130"/>
                  <a:pt x="3639" y="130"/>
                </a:cubicBezTo>
                <a:cubicBezTo>
                  <a:pt x="3639" y="227"/>
                  <a:pt x="3639" y="227"/>
                  <a:pt x="3639" y="227"/>
                </a:cubicBezTo>
                <a:cubicBezTo>
                  <a:pt x="3639" y="258"/>
                  <a:pt x="3614" y="283"/>
                  <a:pt x="3583" y="283"/>
                </a:cubicBezTo>
                <a:cubicBezTo>
                  <a:pt x="3183" y="283"/>
                  <a:pt x="3183" y="283"/>
                  <a:pt x="3183" y="283"/>
                </a:cubicBezTo>
                <a:cubicBezTo>
                  <a:pt x="3183" y="522"/>
                  <a:pt x="3183" y="522"/>
                  <a:pt x="3183" y="522"/>
                </a:cubicBezTo>
                <a:cubicBezTo>
                  <a:pt x="3586" y="522"/>
                  <a:pt x="3586" y="522"/>
                  <a:pt x="3586" y="522"/>
                </a:cubicBezTo>
                <a:cubicBezTo>
                  <a:pt x="3586" y="675"/>
                  <a:pt x="3586" y="675"/>
                  <a:pt x="3586" y="675"/>
                </a:cubicBezTo>
                <a:cubicBezTo>
                  <a:pt x="3183" y="675"/>
                  <a:pt x="3183" y="675"/>
                  <a:pt x="3183" y="675"/>
                </a:cubicBezTo>
                <a:cubicBezTo>
                  <a:pt x="3183" y="992"/>
                  <a:pt x="3183" y="992"/>
                  <a:pt x="3183" y="992"/>
                </a:cubicBezTo>
                <a:cubicBezTo>
                  <a:pt x="2990" y="992"/>
                  <a:pt x="2990" y="992"/>
                  <a:pt x="2990" y="992"/>
                </a:cubicBezTo>
                <a:cubicBezTo>
                  <a:pt x="2990" y="187"/>
                  <a:pt x="2990" y="187"/>
                  <a:pt x="2990" y="187"/>
                </a:cubicBezTo>
                <a:cubicBezTo>
                  <a:pt x="2990" y="156"/>
                  <a:pt x="3015" y="130"/>
                  <a:pt x="3047" y="130"/>
                </a:cubicBezTo>
                <a:close/>
                <a:moveTo>
                  <a:pt x="4801" y="130"/>
                </a:moveTo>
                <a:cubicBezTo>
                  <a:pt x="4801" y="992"/>
                  <a:pt x="4801" y="992"/>
                  <a:pt x="4801" y="992"/>
                </a:cubicBezTo>
                <a:cubicBezTo>
                  <a:pt x="4606" y="992"/>
                  <a:pt x="4606" y="992"/>
                  <a:pt x="4606" y="992"/>
                </a:cubicBezTo>
                <a:cubicBezTo>
                  <a:pt x="4606" y="471"/>
                  <a:pt x="4606" y="471"/>
                  <a:pt x="4606" y="471"/>
                </a:cubicBezTo>
                <a:cubicBezTo>
                  <a:pt x="4367" y="837"/>
                  <a:pt x="4367" y="837"/>
                  <a:pt x="4367" y="837"/>
                </a:cubicBezTo>
                <a:cubicBezTo>
                  <a:pt x="4185" y="837"/>
                  <a:pt x="4185" y="837"/>
                  <a:pt x="4185" y="837"/>
                </a:cubicBezTo>
                <a:cubicBezTo>
                  <a:pt x="3945" y="471"/>
                  <a:pt x="3945" y="471"/>
                  <a:pt x="3945" y="471"/>
                </a:cubicBezTo>
                <a:cubicBezTo>
                  <a:pt x="3945" y="992"/>
                  <a:pt x="3945" y="992"/>
                  <a:pt x="3945" y="992"/>
                </a:cubicBezTo>
                <a:cubicBezTo>
                  <a:pt x="3751" y="992"/>
                  <a:pt x="3751" y="992"/>
                  <a:pt x="3751" y="992"/>
                </a:cubicBezTo>
                <a:cubicBezTo>
                  <a:pt x="3751" y="130"/>
                  <a:pt x="3751" y="130"/>
                  <a:pt x="3751" y="130"/>
                </a:cubicBezTo>
                <a:cubicBezTo>
                  <a:pt x="3875" y="130"/>
                  <a:pt x="3875" y="130"/>
                  <a:pt x="3875" y="130"/>
                </a:cubicBezTo>
                <a:cubicBezTo>
                  <a:pt x="3911" y="130"/>
                  <a:pt x="3949" y="150"/>
                  <a:pt x="3968" y="179"/>
                </a:cubicBezTo>
                <a:cubicBezTo>
                  <a:pt x="4276" y="662"/>
                  <a:pt x="4276" y="662"/>
                  <a:pt x="4276" y="662"/>
                </a:cubicBezTo>
                <a:cubicBezTo>
                  <a:pt x="4584" y="179"/>
                  <a:pt x="4584" y="179"/>
                  <a:pt x="4584" y="179"/>
                </a:cubicBezTo>
                <a:cubicBezTo>
                  <a:pt x="4602" y="150"/>
                  <a:pt x="4640" y="130"/>
                  <a:pt x="4677" y="130"/>
                </a:cubicBezTo>
                <a:lnTo>
                  <a:pt x="4801" y="130"/>
                </a:lnTo>
                <a:close/>
                <a:moveTo>
                  <a:pt x="1192" y="164"/>
                </a:moveTo>
                <a:cubicBezTo>
                  <a:pt x="1589" y="561"/>
                  <a:pt x="1589" y="561"/>
                  <a:pt x="1589" y="561"/>
                </a:cubicBezTo>
                <a:cubicBezTo>
                  <a:pt x="1503" y="647"/>
                  <a:pt x="1503" y="647"/>
                  <a:pt x="1503" y="647"/>
                </a:cubicBezTo>
                <a:cubicBezTo>
                  <a:pt x="1106" y="250"/>
                  <a:pt x="1106" y="250"/>
                  <a:pt x="1106" y="250"/>
                </a:cubicBezTo>
                <a:cubicBezTo>
                  <a:pt x="1023" y="167"/>
                  <a:pt x="912" y="122"/>
                  <a:pt x="795" y="122"/>
                </a:cubicBezTo>
                <a:cubicBezTo>
                  <a:pt x="677" y="122"/>
                  <a:pt x="567" y="167"/>
                  <a:pt x="484" y="250"/>
                </a:cubicBezTo>
                <a:cubicBezTo>
                  <a:pt x="327" y="407"/>
                  <a:pt x="327" y="407"/>
                  <a:pt x="327" y="407"/>
                </a:cubicBezTo>
                <a:cubicBezTo>
                  <a:pt x="638" y="718"/>
                  <a:pt x="638" y="718"/>
                  <a:pt x="638" y="718"/>
                </a:cubicBezTo>
                <a:cubicBezTo>
                  <a:pt x="680" y="760"/>
                  <a:pt x="735" y="783"/>
                  <a:pt x="795" y="783"/>
                </a:cubicBezTo>
                <a:cubicBezTo>
                  <a:pt x="853" y="783"/>
                  <a:pt x="907" y="761"/>
                  <a:pt x="949" y="721"/>
                </a:cubicBezTo>
                <a:cubicBezTo>
                  <a:pt x="1035" y="808"/>
                  <a:pt x="1035" y="808"/>
                  <a:pt x="1035" y="808"/>
                </a:cubicBezTo>
                <a:cubicBezTo>
                  <a:pt x="970" y="871"/>
                  <a:pt x="885" y="905"/>
                  <a:pt x="795" y="905"/>
                </a:cubicBezTo>
                <a:cubicBezTo>
                  <a:pt x="703" y="905"/>
                  <a:pt x="616" y="870"/>
                  <a:pt x="552" y="805"/>
                </a:cubicBezTo>
                <a:cubicBezTo>
                  <a:pt x="154" y="407"/>
                  <a:pt x="154" y="407"/>
                  <a:pt x="154" y="407"/>
                </a:cubicBezTo>
                <a:cubicBezTo>
                  <a:pt x="398" y="164"/>
                  <a:pt x="398" y="164"/>
                  <a:pt x="398" y="164"/>
                </a:cubicBezTo>
                <a:cubicBezTo>
                  <a:pt x="504" y="58"/>
                  <a:pt x="645" y="0"/>
                  <a:pt x="795" y="0"/>
                </a:cubicBezTo>
                <a:cubicBezTo>
                  <a:pt x="945" y="0"/>
                  <a:pt x="1086" y="58"/>
                  <a:pt x="1192" y="164"/>
                </a:cubicBezTo>
                <a:close/>
                <a:moveTo>
                  <a:pt x="1038" y="318"/>
                </a:moveTo>
                <a:cubicBezTo>
                  <a:pt x="1435" y="715"/>
                  <a:pt x="1435" y="715"/>
                  <a:pt x="1435" y="715"/>
                </a:cubicBezTo>
                <a:cubicBezTo>
                  <a:pt x="1192" y="959"/>
                  <a:pt x="1192" y="959"/>
                  <a:pt x="1192" y="959"/>
                </a:cubicBezTo>
                <a:cubicBezTo>
                  <a:pt x="1086" y="1065"/>
                  <a:pt x="945" y="1123"/>
                  <a:pt x="795" y="1123"/>
                </a:cubicBezTo>
                <a:cubicBezTo>
                  <a:pt x="645" y="1123"/>
                  <a:pt x="504" y="1065"/>
                  <a:pt x="398" y="959"/>
                </a:cubicBezTo>
                <a:cubicBezTo>
                  <a:pt x="0" y="561"/>
                  <a:pt x="0" y="561"/>
                  <a:pt x="0" y="561"/>
                </a:cubicBezTo>
                <a:cubicBezTo>
                  <a:pt x="87" y="475"/>
                  <a:pt x="87" y="475"/>
                  <a:pt x="87" y="475"/>
                </a:cubicBezTo>
                <a:cubicBezTo>
                  <a:pt x="484" y="872"/>
                  <a:pt x="484" y="872"/>
                  <a:pt x="484" y="872"/>
                </a:cubicBezTo>
                <a:cubicBezTo>
                  <a:pt x="567" y="955"/>
                  <a:pt x="677" y="1001"/>
                  <a:pt x="795" y="1001"/>
                </a:cubicBezTo>
                <a:cubicBezTo>
                  <a:pt x="912" y="1001"/>
                  <a:pt x="1023" y="955"/>
                  <a:pt x="1106" y="872"/>
                </a:cubicBezTo>
                <a:cubicBezTo>
                  <a:pt x="1263" y="715"/>
                  <a:pt x="1263" y="715"/>
                  <a:pt x="1263" y="715"/>
                </a:cubicBezTo>
                <a:cubicBezTo>
                  <a:pt x="952" y="404"/>
                  <a:pt x="952" y="404"/>
                  <a:pt x="952" y="404"/>
                </a:cubicBezTo>
                <a:cubicBezTo>
                  <a:pt x="910" y="362"/>
                  <a:pt x="854" y="339"/>
                  <a:pt x="795" y="339"/>
                </a:cubicBezTo>
                <a:cubicBezTo>
                  <a:pt x="737" y="339"/>
                  <a:pt x="682" y="361"/>
                  <a:pt x="641" y="401"/>
                </a:cubicBezTo>
                <a:cubicBezTo>
                  <a:pt x="555" y="315"/>
                  <a:pt x="555" y="315"/>
                  <a:pt x="555" y="315"/>
                </a:cubicBezTo>
                <a:cubicBezTo>
                  <a:pt x="619" y="252"/>
                  <a:pt x="704" y="217"/>
                  <a:pt x="795" y="217"/>
                </a:cubicBezTo>
                <a:cubicBezTo>
                  <a:pt x="887" y="217"/>
                  <a:pt x="973" y="253"/>
                  <a:pt x="1038" y="318"/>
                </a:cubicBezTo>
                <a:close/>
              </a:path>
            </a:pathLst>
          </a:custGeom>
          <a:solidFill>
            <a:srgbClr val="45156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Rectangle 6 (PHJU) (PHJU)">
            <a:extLst>
              <a:ext uri="{FF2B5EF4-FFF2-40B4-BE49-F238E27FC236}">
                <a16:creationId xmlns:a16="http://schemas.microsoft.com/office/drawing/2014/main" id="{37B8502D-49A2-4AB2-9579-8751576C63BE}"/>
              </a:ext>
            </a:extLst>
          </p:cNvPr>
          <p:cNvSpPr txBox="1">
            <a:spLocks noGrp="1" noSelect="1" noChangeArrowheads="1"/>
          </p:cNvSpPr>
          <p:nvPr>
            <p:ph type="body" idx="1000" hasCustomPrompt="1"/>
          </p:nvPr>
        </p:nvSpPr>
        <p:spPr bwMode="gray">
          <a:xfrm>
            <a:off x="0" y="3063875"/>
            <a:ext cx="11430000" cy="2651125"/>
          </a:xfrm>
          <a:prstGeom prst="rect">
            <a:avLst/>
          </a:prstGeom>
          <a:solidFill>
            <a:srgbClr val="45156C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613589AD-B38B-4489-B7E8-9DDF0131B002}"/>
              </a:ext>
            </a:extLst>
          </p:cNvPr>
          <p:cNvSpPr>
            <a:spLocks noGrp="1" noSelect="1"/>
          </p:cNvSpPr>
          <p:nvPr>
            <p:ph type="ctrTitle" hasCustomPrompt="1"/>
          </p:nvPr>
        </p:nvSpPr>
        <p:spPr bwMode="gray">
          <a:xfrm>
            <a:off x="764512" y="4097864"/>
            <a:ext cx="10102455" cy="1367369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2" name="Tijdelijke aanduiding voor datum 1"/>
          <p:cNvSpPr>
            <a:spLocks noGrp="1" noSelect="1"/>
          </p:cNvSpPr>
          <p:nvPr>
            <p:ph type="dt" sz="half" idx="1001"/>
          </p:nvPr>
        </p:nvSpPr>
        <p:spPr/>
        <p:txBody>
          <a:bodyPr/>
          <a:lstStyle/>
          <a:p>
            <a:fld id="{B1D2FD72-9FC2-44CB-9E3C-3F0AFBAAD757}" type="datetime1">
              <a:rPr lang="nl-NL" smtClean="0"/>
              <a:t>23-4-2024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 noSelect="1"/>
          </p:cNvSpPr>
          <p:nvPr>
            <p:ph type="ftr" sz="quarter" idx="1002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4" name="Tijdelijke aanduiding voor dianummer 3"/>
          <p:cNvSpPr>
            <a:spLocks noGrp="1" noSelect="1"/>
          </p:cNvSpPr>
          <p:nvPr>
            <p:ph type="sldNum" sz="quarter" idx="1003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4570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3" name="Tijdelijke aanduiding voor inhoud 2"/>
          <p:cNvSpPr>
            <a:spLocks noGrp="1" noSelect="1"/>
          </p:cNvSpPr>
          <p:nvPr>
            <p:ph idx="1" hasCustomPrompt="1"/>
          </p:nvPr>
        </p:nvSpPr>
        <p:spPr bwMode="gray">
          <a:xfrm>
            <a:off x="760281" y="2323017"/>
            <a:ext cx="10682420" cy="379638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nl-NL" dirty="0"/>
              <a:t>[Typ tekst of klik op een pictogram om een object in te voegen]</a:t>
            </a:r>
          </a:p>
        </p:txBody>
      </p:sp>
      <p:sp>
        <p:nvSpPr>
          <p:cNvPr id="4" name="Tijdelijke aanduiding voor datum 3"/>
          <p:cNvSpPr>
            <a:spLocks noGrp="1" noSelect="1"/>
          </p:cNvSpPr>
          <p:nvPr>
            <p:ph type="dt" sz="half" idx="10"/>
          </p:nvPr>
        </p:nvSpPr>
        <p:spPr/>
        <p:txBody>
          <a:bodyPr/>
          <a:lstStyle/>
          <a:p>
            <a:fld id="{727C97C5-F2ED-48C3-9904-38FB17B657CD}" type="datetime1">
              <a:rPr lang="nl-NL" smtClean="0"/>
              <a:t>23-4-2024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 noSelect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6" name="Tijdelijke aanduiding voor dianummer 5"/>
          <p:cNvSpPr>
            <a:spLocks noGrp="1" noSelect="1"/>
          </p:cNvSpPr>
          <p:nvPr>
            <p:ph type="sldNum" sz="quarter" idx="12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201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teks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10" name="Tijdelijke aanduiding voor tekst 8 (JU-Free)">
            <a:extLst>
              <a:ext uri="{FF2B5EF4-FFF2-40B4-BE49-F238E27FC236}">
                <a16:creationId xmlns:a16="http://schemas.microsoft.com/office/drawing/2014/main" id="{4C257F17-789F-440F-9A37-DB86E8FDF7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0414" y="2319338"/>
            <a:ext cx="5148000" cy="380206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19" name="Tijdelijke aanduiding voor tekst 8 (JU-Free)">
            <a:extLst>
              <a:ext uri="{FF2B5EF4-FFF2-40B4-BE49-F238E27FC236}">
                <a16:creationId xmlns:a16="http://schemas.microsoft.com/office/drawing/2014/main" id="{E8D506C6-A106-42FB-AC78-E20A46DD94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84913" y="2319338"/>
            <a:ext cx="5146673" cy="380206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18"/>
          </p:nvPr>
        </p:nvSpPr>
        <p:spPr/>
        <p:txBody>
          <a:bodyPr/>
          <a:lstStyle/>
          <a:p>
            <a:fld id="{47BBA65A-E342-42A6-A2AD-BCAD263C9A23}" type="datetime1">
              <a:rPr lang="nl-NL" smtClean="0"/>
              <a:t>23-4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 noSelect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20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51340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teks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14" name="Tijdelijke aanduiding voor tekst 8 (JU-Free)">
            <a:extLst>
              <a:ext uri="{FF2B5EF4-FFF2-40B4-BE49-F238E27FC236}">
                <a16:creationId xmlns:a16="http://schemas.microsoft.com/office/drawing/2014/main" id="{777E55BA-5DEC-4CBA-A395-CF0A7F4B5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0414" y="2319338"/>
            <a:ext cx="3070753" cy="3802062"/>
          </a:xfrm>
        </p:spPr>
        <p:txBody>
          <a:bodyPr numCol="1" spcCol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17" name="Tijdelijke aanduiding voor tekst 8 (JU-Free)">
            <a:extLst>
              <a:ext uri="{FF2B5EF4-FFF2-40B4-BE49-F238E27FC236}">
                <a16:creationId xmlns:a16="http://schemas.microsoft.com/office/drawing/2014/main" id="{08211635-BF24-4641-BBD0-D4B4078C97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66181" y="2319338"/>
            <a:ext cx="3070753" cy="380206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18" name="Tijdelijke aanduiding voor tekst 8 (JU-Free)">
            <a:extLst>
              <a:ext uri="{FF2B5EF4-FFF2-40B4-BE49-F238E27FC236}">
                <a16:creationId xmlns:a16="http://schemas.microsoft.com/office/drawing/2014/main" id="{FE06146F-83D7-4945-934D-59848A5A87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71948" y="2319338"/>
            <a:ext cx="3070753" cy="3802062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19"/>
          </p:nvPr>
        </p:nvSpPr>
        <p:spPr/>
        <p:txBody>
          <a:bodyPr/>
          <a:lstStyle/>
          <a:p>
            <a:fld id="{84143AFA-F779-4CBB-9502-A96A1705F2EF}" type="datetime1">
              <a:rPr lang="nl-NL" smtClean="0"/>
              <a:t>23-4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 noSelect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21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827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afbeelding en teks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Select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dirty="0"/>
              <a:t>[Titel]</a:t>
            </a:r>
          </a:p>
        </p:txBody>
      </p:sp>
      <p:sp>
        <p:nvSpPr>
          <p:cNvPr id="18" name="Tijdelijke aanduiding voor tekst 8 (JU-Free)">
            <a:extLst>
              <a:ext uri="{FF2B5EF4-FFF2-40B4-BE49-F238E27FC236}">
                <a16:creationId xmlns:a16="http://schemas.microsoft.com/office/drawing/2014/main" id="{FE06146F-83D7-4945-934D-59848A5A87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71948" y="4224866"/>
            <a:ext cx="3070753" cy="1896534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12" name="Tijdelijke aanduiding voor tekst 8 (JU-Free)">
            <a:extLst>
              <a:ext uri="{FF2B5EF4-FFF2-40B4-BE49-F238E27FC236}">
                <a16:creationId xmlns:a16="http://schemas.microsoft.com/office/drawing/2014/main" id="{7FE97A46-D5F0-4C69-BCD0-65BCD7D078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566181" y="4224866"/>
            <a:ext cx="3070753" cy="1896533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12D223FE-F38B-42FB-B1CC-09AE3679F73D}"/>
              </a:ext>
            </a:extLst>
          </p:cNvPr>
          <p:cNvSpPr>
            <a:spLocks noGrp="1" noSelect="1"/>
          </p:cNvSpPr>
          <p:nvPr>
            <p:ph type="pic" sz="quarter" idx="19" hasCustomPrompt="1"/>
          </p:nvPr>
        </p:nvSpPr>
        <p:spPr bwMode="gray">
          <a:xfrm>
            <a:off x="759887" y="2443163"/>
            <a:ext cx="3070752" cy="1562100"/>
          </a:xfrm>
        </p:spPr>
        <p:txBody>
          <a:bodyPr/>
          <a:lstStyle>
            <a:lvl1pPr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15" name="Tijdelijke aanduiding voor afbeelding 9">
            <a:extLst>
              <a:ext uri="{FF2B5EF4-FFF2-40B4-BE49-F238E27FC236}">
                <a16:creationId xmlns:a16="http://schemas.microsoft.com/office/drawing/2014/main" id="{8FE0AD4E-A9A9-4658-9413-AC79AE0B27AF}"/>
              </a:ext>
            </a:extLst>
          </p:cNvPr>
          <p:cNvSpPr>
            <a:spLocks noGrp="1" noSelect="1"/>
          </p:cNvSpPr>
          <p:nvPr>
            <p:ph type="pic" sz="quarter" idx="20" hasCustomPrompt="1"/>
          </p:nvPr>
        </p:nvSpPr>
        <p:spPr bwMode="gray">
          <a:xfrm>
            <a:off x="4560624" y="2443163"/>
            <a:ext cx="3070752" cy="1562100"/>
          </a:xfrm>
        </p:spPr>
        <p:txBody>
          <a:bodyPr/>
          <a:lstStyle>
            <a:lvl1pPr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16" name="Tijdelijke aanduiding voor afbeelding 9">
            <a:extLst>
              <a:ext uri="{FF2B5EF4-FFF2-40B4-BE49-F238E27FC236}">
                <a16:creationId xmlns:a16="http://schemas.microsoft.com/office/drawing/2014/main" id="{5792CAA2-57F3-406F-8727-49968E829960}"/>
              </a:ext>
            </a:extLst>
          </p:cNvPr>
          <p:cNvSpPr>
            <a:spLocks noGrp="1" noSelect="1"/>
          </p:cNvSpPr>
          <p:nvPr>
            <p:ph type="pic" sz="quarter" idx="21" hasCustomPrompt="1"/>
          </p:nvPr>
        </p:nvSpPr>
        <p:spPr bwMode="gray">
          <a:xfrm>
            <a:off x="8371949" y="2443163"/>
            <a:ext cx="3070752" cy="1562100"/>
          </a:xfrm>
        </p:spPr>
        <p:txBody>
          <a:bodyPr/>
          <a:lstStyle>
            <a:lvl1pPr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20" name="Tijdelijke aanduiding voor tekst 8 (JU-Free)">
            <a:extLst>
              <a:ext uri="{FF2B5EF4-FFF2-40B4-BE49-F238E27FC236}">
                <a16:creationId xmlns:a16="http://schemas.microsoft.com/office/drawing/2014/main" id="{5C8AC3AA-C528-4E88-B62A-E9CC8472E2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59887" y="4224866"/>
            <a:ext cx="3070753" cy="1896533"/>
          </a:xfrm>
        </p:spPr>
        <p:txBody>
          <a:bodyPr numCol="1" spcCol="360000"/>
          <a:lstStyle>
            <a:lvl1pPr>
              <a:defRPr/>
            </a:lvl1pPr>
          </a:lstStyle>
          <a:p>
            <a:pPr lvl="0"/>
            <a:r>
              <a:rPr lang="nl-NL" dirty="0"/>
              <a:t>[Tekst]</a:t>
            </a:r>
            <a:endParaRPr lang="aa-ET" dirty="0"/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23"/>
          </p:nvPr>
        </p:nvSpPr>
        <p:spPr/>
        <p:txBody>
          <a:bodyPr/>
          <a:lstStyle/>
          <a:p>
            <a:fld id="{63977DA3-9596-44C2-87D4-B7549B72F1EE}" type="datetime1">
              <a:rPr lang="nl-NL" smtClean="0"/>
              <a:t>23-4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 noSelect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25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64136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A7D28FDD-DDB0-4F1A-8F19-A5D9D16047EA}"/>
              </a:ext>
            </a:extLst>
          </p:cNvPr>
          <p:cNvSpPr>
            <a:spLocks noGrp="1" noSelect="1"/>
          </p:cNvSpPr>
          <p:nvPr>
            <p:ph type="pic" idx="10" hasCustomPrompt="1"/>
          </p:nvPr>
        </p:nvSpPr>
        <p:spPr bwMode="gray">
          <a:xfrm>
            <a:off x="6857999" y="787320"/>
            <a:ext cx="5329080" cy="5308560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  <a:lvl5pPr algn="r">
              <a:defRPr/>
            </a:lvl5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9" name="Rectangle 6 (PHJU) (PHJU)">
            <a:extLst>
              <a:ext uri="{FF2B5EF4-FFF2-40B4-BE49-F238E27FC236}">
                <a16:creationId xmlns:a16="http://schemas.microsoft.com/office/drawing/2014/main" id="{9F214EA9-83A3-4741-BD8F-1B46EF983DC8}"/>
              </a:ext>
            </a:extLst>
          </p:cNvPr>
          <p:cNvSpPr>
            <a:spLocks noGrp="1" noSelect="1" noChangeArrowheads="1"/>
          </p:cNvSpPr>
          <p:nvPr>
            <p:ph type="body" idx="1000" hasCustomPrompt="1"/>
          </p:nvPr>
        </p:nvSpPr>
        <p:spPr bwMode="gray">
          <a:xfrm>
            <a:off x="0" y="0"/>
            <a:ext cx="7620000" cy="6096000"/>
          </a:xfrm>
          <a:prstGeom prst="rect">
            <a:avLst/>
          </a:prstGeom>
          <a:solidFill>
            <a:srgbClr val="45156C">
              <a:alpha val="30196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</a:lstStyle>
          <a:p>
            <a:r>
              <a:rPr lang="nl-NL"/>
              <a:t> </a:t>
            </a:r>
            <a:endParaRPr lang="nl-NL" dirty="0"/>
          </a:p>
        </p:txBody>
      </p:sp>
      <p:sp>
        <p:nvSpPr>
          <p:cNvPr id="2" name="***Titel 1"/>
          <p:cNvSpPr>
            <a:spLocks noGrp="1" noSelect="1"/>
          </p:cNvSpPr>
          <p:nvPr>
            <p:ph type="title" hasCustomPrompt="1"/>
          </p:nvPr>
        </p:nvSpPr>
        <p:spPr bwMode="gray">
          <a:xfrm>
            <a:off x="760280" y="1212690"/>
            <a:ext cx="5276453" cy="130191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10" name="Tijdelijke aanduiding voor tekst 8 (JU-Free)">
            <a:extLst>
              <a:ext uri="{FF2B5EF4-FFF2-40B4-BE49-F238E27FC236}">
                <a16:creationId xmlns:a16="http://schemas.microsoft.com/office/drawing/2014/main" id="{4C257F17-789F-440F-9A37-DB86E8FDF7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0414" y="2649527"/>
            <a:ext cx="5276319" cy="3000020"/>
          </a:xfrm>
        </p:spPr>
        <p:txBody>
          <a:bodyPr numCol="1" spcCol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1001"/>
          </p:nvPr>
        </p:nvSpPr>
        <p:spPr/>
        <p:txBody>
          <a:bodyPr/>
          <a:lstStyle/>
          <a:p>
            <a:fld id="{4A85F3A0-7392-4FA3-84A8-2C159222D271}" type="datetime1">
              <a:rPr lang="nl-NL" smtClean="0"/>
              <a:t>23-4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 noSelect="1"/>
          </p:cNvSpPr>
          <p:nvPr>
            <p:ph type="ftr" sz="quarter" idx="1002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1003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933476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8">
            <a:extLst>
              <a:ext uri="{FF2B5EF4-FFF2-40B4-BE49-F238E27FC236}">
                <a16:creationId xmlns:a16="http://schemas.microsoft.com/office/drawing/2014/main" id="{5CC4187B-251C-4522-A381-EE035C85C661}"/>
              </a:ext>
            </a:extLst>
          </p:cNvPr>
          <p:cNvSpPr>
            <a:spLocks noGrp="1" noSelect="1"/>
          </p:cNvSpPr>
          <p:nvPr>
            <p:ph type="pic" idx="10" hasCustomPrompt="1"/>
          </p:nvPr>
        </p:nvSpPr>
        <p:spPr bwMode="gray">
          <a:xfrm>
            <a:off x="6857999" y="787320"/>
            <a:ext cx="5329080" cy="5308560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  <a:lvl5pPr algn="r">
              <a:defRPr/>
            </a:lvl5pPr>
          </a:lstStyle>
          <a:p>
            <a:pPr lvl="4"/>
            <a:r>
              <a:rPr lang="nl-NL" dirty="0"/>
              <a:t>[Klik op het pictogram om een afbeelding in te voegen]</a:t>
            </a:r>
          </a:p>
        </p:txBody>
      </p:sp>
      <p:sp>
        <p:nvSpPr>
          <p:cNvPr id="8" name="Rectangle 6 (PHJU)">
            <a:extLst>
              <a:ext uri="{FF2B5EF4-FFF2-40B4-BE49-F238E27FC236}">
                <a16:creationId xmlns:a16="http://schemas.microsoft.com/office/drawing/2014/main" id="{9F390835-C79E-4732-BA6B-2B48F451BF52}"/>
              </a:ext>
            </a:extLst>
          </p:cNvPr>
          <p:cNvSpPr>
            <a:spLocks noGrp="1" noSelect="1" noChangeArrowheads="1"/>
          </p:cNvSpPr>
          <p:nvPr>
            <p:ph type="body" idx="1000" hasCustomPrompt="1"/>
          </p:nvPr>
        </p:nvSpPr>
        <p:spPr bwMode="gray">
          <a:xfrm>
            <a:off x="0" y="0"/>
            <a:ext cx="7620000" cy="6096000"/>
          </a:xfrm>
          <a:prstGeom prst="rect">
            <a:avLst/>
          </a:prstGeom>
          <a:solidFill>
            <a:srgbClr val="45156C">
              <a:alpha val="30196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lvl1pPr>
          </a:lstStyle>
          <a:p>
            <a:r>
              <a:rPr lang="nl-NL"/>
              <a:t> </a:t>
            </a:r>
            <a:endParaRPr lang="nl-NL" dirty="0"/>
          </a:p>
        </p:txBody>
      </p:sp>
      <p:sp>
        <p:nvSpPr>
          <p:cNvPr id="2" name="***Titel 1"/>
          <p:cNvSpPr>
            <a:spLocks noGrp="1" noSelect="1"/>
          </p:cNvSpPr>
          <p:nvPr>
            <p:ph type="title" hasCustomPrompt="1"/>
          </p:nvPr>
        </p:nvSpPr>
        <p:spPr bwMode="gray">
          <a:xfrm>
            <a:off x="760280" y="1212690"/>
            <a:ext cx="5276453" cy="3664110"/>
          </a:xfrm>
        </p:spPr>
        <p:txBody>
          <a:bodyPr anchor="ctr" anchorCtr="0"/>
          <a:lstStyle>
            <a:lvl1pPr>
              <a:defRPr sz="4600"/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3" name="Tijdelijke aanduiding voor datum 2"/>
          <p:cNvSpPr>
            <a:spLocks noGrp="1" noSelect="1"/>
          </p:cNvSpPr>
          <p:nvPr>
            <p:ph type="dt" sz="half" idx="1001"/>
          </p:nvPr>
        </p:nvSpPr>
        <p:spPr/>
        <p:txBody>
          <a:bodyPr/>
          <a:lstStyle/>
          <a:p>
            <a:fld id="{14683054-1A5A-4F25-89C4-DAF8CD6FE831}" type="datetime1">
              <a:rPr lang="nl-NL" smtClean="0"/>
              <a:t>23-4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 noSelect="1"/>
          </p:cNvSpPr>
          <p:nvPr>
            <p:ph type="ftr" sz="quarter" idx="1002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5" name="Tijdelijke aanduiding voor dianummer 4"/>
          <p:cNvSpPr>
            <a:spLocks noGrp="1" noSelect="1"/>
          </p:cNvSpPr>
          <p:nvPr>
            <p:ph type="sldNum" sz="quarter" idx="1003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3575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tekst en afbeelding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***Titel 1">
            <a:extLst>
              <a:ext uri="{FF2B5EF4-FFF2-40B4-BE49-F238E27FC236}">
                <a16:creationId xmlns:a16="http://schemas.microsoft.com/office/drawing/2014/main" id="{711BF284-CDF7-4A3A-8597-B2DEFAFF522C}"/>
              </a:ext>
            </a:extLst>
          </p:cNvPr>
          <p:cNvSpPr>
            <a:spLocks noGrp="1" noSelect="1"/>
          </p:cNvSpPr>
          <p:nvPr>
            <p:ph type="title" hasCustomPrompt="1"/>
          </p:nvPr>
        </p:nvSpPr>
        <p:spPr bwMode="gray">
          <a:xfrm>
            <a:off x="5333865" y="1780491"/>
            <a:ext cx="6108836" cy="1301914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9" name="Tijdelijke aanduiding voor tekst 8 (JU-Free)">
            <a:extLst>
              <a:ext uri="{FF2B5EF4-FFF2-40B4-BE49-F238E27FC236}">
                <a16:creationId xmlns:a16="http://schemas.microsoft.com/office/drawing/2014/main" id="{4F5D772B-17F9-4469-B96B-07B651B987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33865" y="3254894"/>
            <a:ext cx="6104603" cy="2832640"/>
          </a:xfrm>
        </p:spPr>
        <p:txBody>
          <a:bodyPr numCol="1" spcCol="360000"/>
          <a:lstStyle>
            <a:lvl1pPr>
              <a:defRPr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nl-NL" dirty="0"/>
              <a:t>[Tekst]</a:t>
            </a:r>
          </a:p>
        </p:txBody>
      </p:sp>
      <p:sp>
        <p:nvSpPr>
          <p:cNvPr id="11" name="Tijdelijke aanduiding voor afbeelding 9">
            <a:extLst>
              <a:ext uri="{FF2B5EF4-FFF2-40B4-BE49-F238E27FC236}">
                <a16:creationId xmlns:a16="http://schemas.microsoft.com/office/drawing/2014/main" id="{E82E07D4-5974-4D88-AB0B-3A927342A200}"/>
              </a:ext>
            </a:extLst>
          </p:cNvPr>
          <p:cNvSpPr>
            <a:spLocks noGrp="1" noSelect="1"/>
          </p:cNvSpPr>
          <p:nvPr>
            <p:ph type="pic" sz="quarter" idx="21" hasCustomPrompt="1"/>
          </p:nvPr>
        </p:nvSpPr>
        <p:spPr bwMode="gray">
          <a:xfrm>
            <a:off x="0" y="0"/>
            <a:ext cx="4559300" cy="6087534"/>
          </a:xfrm>
        </p:spPr>
        <p:txBody>
          <a:bodyPr/>
          <a:lstStyle>
            <a:lvl1pPr>
              <a:defRPr/>
            </a:lvl1pPr>
          </a:lstStyle>
          <a:p>
            <a:pPr lvl="4"/>
            <a:r>
              <a:rPr lang="nl-NL"/>
              <a:t>[Klik op het pictogram om een afbeelding in te voegen]</a:t>
            </a:r>
            <a:endParaRPr lang="nl-NL" dirty="0"/>
          </a:p>
        </p:txBody>
      </p:sp>
      <p:sp>
        <p:nvSpPr>
          <p:cNvPr id="2" name="Tijdelijke aanduiding voor datum 1"/>
          <p:cNvSpPr>
            <a:spLocks noGrp="1" noSelect="1"/>
          </p:cNvSpPr>
          <p:nvPr>
            <p:ph type="dt" sz="half" idx="22"/>
          </p:nvPr>
        </p:nvSpPr>
        <p:spPr/>
        <p:txBody>
          <a:bodyPr/>
          <a:lstStyle/>
          <a:p>
            <a:fld id="{CDB19D92-98EE-4A05-A95E-6D1C267E0E6D}" type="datetime1">
              <a:rPr lang="nl-NL" smtClean="0"/>
              <a:t>23-4-2024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 noSelect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l-NL"/>
              <a:t>Editie 19 maart 2024</a:t>
            </a:r>
          </a:p>
        </p:txBody>
      </p:sp>
      <p:sp>
        <p:nvSpPr>
          <p:cNvPr id="4" name="Tijdelijke aanduiding voor dianummer 3"/>
          <p:cNvSpPr>
            <a:spLocks noGrp="1" noSelect="1"/>
          </p:cNvSpPr>
          <p:nvPr>
            <p:ph type="sldNum" sz="quarter" idx="24"/>
          </p:nvPr>
        </p:nvSpPr>
        <p:spPr/>
        <p:txBody>
          <a:bodyPr/>
          <a:lstStyle/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2313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4D5BDF-4CD2-4680-A647-957794BC7C14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94257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06" imgH="608" progId="TCLayout.ActiveDocument.1">
                  <p:embed/>
                </p:oleObj>
              </mc:Choice>
              <mc:Fallback>
                <p:oleObj name="think-cell Slide" r:id="rId22" imgW="606" imgH="6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4D5BDF-4CD2-4680-A647-957794BC7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 noSelect="1"/>
          </p:cNvSpPr>
          <p:nvPr>
            <p:ph type="title"/>
          </p:nvPr>
        </p:nvSpPr>
        <p:spPr bwMode="gray">
          <a:xfrm>
            <a:off x="760280" y="1208453"/>
            <a:ext cx="10682421" cy="85398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/>
              <a:t>[Titel]</a:t>
            </a:r>
            <a:endParaRPr lang="nl-NL" dirty="0"/>
          </a:p>
        </p:txBody>
      </p:sp>
      <p:sp>
        <p:nvSpPr>
          <p:cNvPr id="3" name="Tijdelijke aanduiding voor tekst 2 (JU-Free)"/>
          <p:cNvSpPr>
            <a:spLocks noGrp="1"/>
          </p:cNvSpPr>
          <p:nvPr>
            <p:ph type="body" idx="1"/>
          </p:nvPr>
        </p:nvSpPr>
        <p:spPr bwMode="gray">
          <a:xfrm>
            <a:off x="760281" y="2323017"/>
            <a:ext cx="10682420" cy="37963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/>
              <a:t>JU-LEVEL1=Opsomming 1e niveau</a:t>
            </a:r>
          </a:p>
          <a:p>
            <a:pPr lvl="1"/>
            <a:r>
              <a:rPr lang="nl-NL"/>
              <a:t>JU-LEVEL2=Opsomming 2e niveau</a:t>
            </a:r>
          </a:p>
          <a:p>
            <a:pPr lvl="2"/>
            <a:r>
              <a:rPr lang="nl-NL"/>
              <a:t>JU-LEVEL3=Opsomming 3e niveau</a:t>
            </a:r>
          </a:p>
          <a:p>
            <a:pPr lvl="3"/>
            <a:r>
              <a:rPr lang="nl-NL"/>
              <a:t>JU-LEVEL4=Kop</a:t>
            </a:r>
          </a:p>
          <a:p>
            <a:pPr lvl="4"/>
            <a:r>
              <a:rPr lang="nl-NL"/>
              <a:t>JU-LEVEL5=Basistekst</a:t>
            </a:r>
          </a:p>
          <a:p>
            <a:pPr lvl="5"/>
            <a:r>
              <a:rPr lang="nl-NL"/>
              <a:t>JU-LEVEL6=Zwevend 1e niveau</a:t>
            </a:r>
          </a:p>
          <a:p>
            <a:pPr lvl="6"/>
            <a:r>
              <a:rPr lang="nl-NL"/>
              <a:t>JU-LEVEL7=Zwevend 2e niveau</a:t>
            </a:r>
          </a:p>
          <a:p>
            <a:pPr lvl="7"/>
            <a:r>
              <a:rPr lang="nl-NL"/>
              <a:t>JU-LEVEL8=Zwevend 3e niveau</a:t>
            </a:r>
          </a:p>
          <a:p>
            <a:pPr lvl="8"/>
            <a:r>
              <a:rPr lang="nl-NL"/>
              <a:t>JU-LEVEL9=Introductie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 noSelect="1"/>
          </p:cNvSpPr>
          <p:nvPr>
            <p:ph type="dt" sz="half" idx="2"/>
          </p:nvPr>
        </p:nvSpPr>
        <p:spPr bwMode="gray">
          <a:xfrm>
            <a:off x="1160186" y="6309784"/>
            <a:ext cx="1260000" cy="2010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lang="nl-NL" sz="12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6D27B10C-1FB7-4AF5-B928-7B873CE568E3}" type="datetime1">
              <a:rPr lang="nl-NL" smtClean="0"/>
              <a:t>23-4-2024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 noSelect="1"/>
          </p:cNvSpPr>
          <p:nvPr>
            <p:ph type="ftr" sz="quarter" idx="3"/>
          </p:nvPr>
        </p:nvSpPr>
        <p:spPr bwMode="gray">
          <a:xfrm>
            <a:off x="2615713" y="6309784"/>
            <a:ext cx="7200000" cy="2010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Editie 19 maart 2024</a:t>
            </a:r>
          </a:p>
        </p:txBody>
      </p:sp>
      <p:sp>
        <p:nvSpPr>
          <p:cNvPr id="6" name="Tijdelijke aanduiding voor dianummer 5"/>
          <p:cNvSpPr>
            <a:spLocks noGrp="1" noSelect="1"/>
          </p:cNvSpPr>
          <p:nvPr>
            <p:ph type="sldNum" sz="quarter" idx="4"/>
          </p:nvPr>
        </p:nvSpPr>
        <p:spPr bwMode="gray">
          <a:xfrm>
            <a:off x="574013" y="6309784"/>
            <a:ext cx="360000" cy="2010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1200" b="1">
                <a:solidFill>
                  <a:schemeClr val="tx2"/>
                </a:solidFill>
                <a:latin typeface="+mj-lt"/>
              </a:defRPr>
            </a:lvl1pPr>
          </a:lstStyle>
          <a:p>
            <a:fld id="{40F46CDA-40D7-4812-A087-1576A7FB629C}" type="slidenum">
              <a:rPr lang="nl-NL" smtClean="0"/>
              <a:t>‹#›</a:t>
            </a:fld>
            <a:endParaRPr lang="nl-NL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06A5156-C811-C684-4644-B23496B8D0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8906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4" imgH="344" progId="TCLayout.ActiveDocument.1">
                  <p:embed/>
                </p:oleObj>
              </mc:Choice>
              <mc:Fallback>
                <p:oleObj name="think-cell Slide" r:id="rId24" imgW="344" imgH="3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6A5156-C811-C684-4644-B23496B8D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4627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dt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7200" indent="-14400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74400" indent="-14400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61600" indent="-14400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None/>
        <a:defRPr sz="1600" b="1" kern="1200">
          <a:solidFill>
            <a:schemeClr val="tx2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7200" indent="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74400" indent="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61600" indent="0" algn="l" defTabSz="914400" rtl="0" eaLnBrk="1" latinLnBrk="0" hangingPunct="1">
        <a:lnSpc>
          <a:spcPct val="100000"/>
        </a:lnSpc>
        <a:spcBef>
          <a:spcPts val="0"/>
        </a:spcBef>
        <a:buFont typeface="Calibri Light" panose="020F030202020403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4000"/>
        </a:lnSpc>
        <a:spcBef>
          <a:spcPts val="0"/>
        </a:spcBef>
        <a:spcAft>
          <a:spcPts val="1600"/>
        </a:spcAft>
        <a:buFont typeface="Calibri Light" panose="020F030202020403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image" Target="../media/image4.svg"/><Relationship Id="rId7" Type="http://schemas.openxmlformats.org/officeDocument/2006/relationships/slide" Target="slide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11" Type="http://schemas.openxmlformats.org/officeDocument/2006/relationships/hyperlink" Target="https://www.afm.nl/nl-nl/sector/pensioenuitvoerders/aanpak-transitie/platform-pensioentransitie" TargetMode="External"/><Relationship Id="rId5" Type="http://schemas.openxmlformats.org/officeDocument/2006/relationships/slide" Target="slide4.xml"/><Relationship Id="rId10" Type="http://schemas.openxmlformats.org/officeDocument/2006/relationships/hyperlink" Target="https://www.afm.nl/nl-nl/sector/pensioenuitvoerders/aanpak-transitie/communicatieplan/ronde-tafels" TargetMode="External"/><Relationship Id="rId4" Type="http://schemas.openxmlformats.org/officeDocument/2006/relationships/slide" Target="slide1.xml"/><Relationship Id="rId9" Type="http://schemas.openxmlformats.org/officeDocument/2006/relationships/hyperlink" Target="https://www.afm.nl/nl-nl/sector/actueel/2024/april/tb-pensioenevent?utm_campaign=Maand&amp;utm_source=Consumentennieuwsbrief&amp;utm_medium=email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13" Type="http://schemas.openxmlformats.org/officeDocument/2006/relationships/hyperlink" Target="https://www.afm.nl/nl-nl/sector/pensioenuitvoerders/informeren-deelnemers/keuzebegeleiding" TargetMode="External"/><Relationship Id="rId3" Type="http://schemas.openxmlformats.org/officeDocument/2006/relationships/image" Target="../media/image4.svg"/><Relationship Id="rId7" Type="http://schemas.openxmlformats.org/officeDocument/2006/relationships/slide" Target="slide2.xml"/><Relationship Id="rId12" Type="http://schemas.openxmlformats.org/officeDocument/2006/relationships/hyperlink" Target="https://www.afm.nl/nl-nl/sector/actueel/2023/juni/tb-sfdr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11" Type="http://schemas.openxmlformats.org/officeDocument/2006/relationships/hyperlink" Target="https://www.afm.nl/nl-nl/sector/actueel/2023/mei/tb-onderzoek-upo" TargetMode="External"/><Relationship Id="rId5" Type="http://schemas.openxmlformats.org/officeDocument/2006/relationships/slide" Target="slide4.xml"/><Relationship Id="rId15" Type="http://schemas.openxmlformats.org/officeDocument/2006/relationships/hyperlink" Target="https://www.afm.nl/nl-nl/sector/actueel/2024/maart/tb-rpo-onderzoek?utm_campaign=Maand&amp;utm_source=Consumentennieuwsbrief&amp;utm_medium=email" TargetMode="External"/><Relationship Id="rId10" Type="http://schemas.openxmlformats.org/officeDocument/2006/relationships/hyperlink" Target="https://www.afm.nl/nl-nl/sector/actueel/2023/september/tb-overbruggingsplan" TargetMode="External"/><Relationship Id="rId4" Type="http://schemas.openxmlformats.org/officeDocument/2006/relationships/slide" Target="slide1.xml"/><Relationship Id="rId9" Type="http://schemas.openxmlformats.org/officeDocument/2006/relationships/hyperlink" Target="https://www.afm.nl/nl-nl/sector/actueel/2023/december/tb-indexatie-amvb" TargetMode="External"/><Relationship Id="rId14" Type="http://schemas.openxmlformats.org/officeDocument/2006/relationships/hyperlink" Target="https://www.afm.nl/nl-nl/sector/actueel/2024/maart/tb-onderzoek-opdrachtbevestiging?utm_campaign=Maand&amp;utm_source=Consumentennieuwsbrief&amp;utm_medium=email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image" Target="../media/image4.svg"/><Relationship Id="rId7" Type="http://schemas.openxmlformats.org/officeDocument/2006/relationships/slide" Target="slide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11" Type="http://schemas.openxmlformats.org/officeDocument/2006/relationships/hyperlink" Target="https://www.afm.nl/nl-nl/sector/pensioenuitvoerders/informeren-deelnemers/collectieve-waardeoverdracht" TargetMode="External"/><Relationship Id="rId5" Type="http://schemas.openxmlformats.org/officeDocument/2006/relationships/slide" Target="slide4.xml"/><Relationship Id="rId10" Type="http://schemas.openxmlformats.org/officeDocument/2006/relationships/hyperlink" Target="https://www.afm.nl/nl-nl/sector/pensioenuitvoerders/publicaties/sectorbeeld-pensioenen" TargetMode="External"/><Relationship Id="rId4" Type="http://schemas.openxmlformats.org/officeDocument/2006/relationships/slide" Target="slide1.xml"/><Relationship Id="rId9" Type="http://schemas.openxmlformats.org/officeDocument/2006/relationships/hyperlink" Target="https://www.afm.nl/nl-nl/sector/pensioenuitvoerders/datagedreven-toezicht/toezichtrapportage-tweedepijlerpensioenen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image" Target="../media/image4.svg"/><Relationship Id="rId7" Type="http://schemas.openxmlformats.org/officeDocument/2006/relationships/slide" Target="slide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11" Type="http://schemas.openxmlformats.org/officeDocument/2006/relationships/hyperlink" Target="https://www.afm.nl/nl-nl/sector/pensioenuitvoerders/aanpak-transitie/communicatieplan/veelgestelde-vragen" TargetMode="External"/><Relationship Id="rId5" Type="http://schemas.openxmlformats.org/officeDocument/2006/relationships/slide" Target="slide4.xml"/><Relationship Id="rId10" Type="http://schemas.openxmlformats.org/officeDocument/2006/relationships/hyperlink" Target="https://www.afm.nl/nl-nl/sector/pensioenuitvoerders/aanpak-transitie/communicatieplan" TargetMode="External"/><Relationship Id="rId4" Type="http://schemas.openxmlformats.org/officeDocument/2006/relationships/slide" Target="slide1.xml"/><Relationship Id="rId9" Type="http://schemas.openxmlformats.org/officeDocument/2006/relationships/hyperlink" Target="https://www.afm.nl/nl-nl/sector/pensioenuitvoerders/aanpak-transitie/communicatieplan/praktische-informatie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image" Target="../media/image4.svg"/><Relationship Id="rId7" Type="http://schemas.openxmlformats.org/officeDocument/2006/relationships/slide" Target="slide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slide" Target="slide3.xml"/><Relationship Id="rId5" Type="http://schemas.openxmlformats.org/officeDocument/2006/relationships/slide" Target="slide4.xml"/><Relationship Id="rId10" Type="http://schemas.openxmlformats.org/officeDocument/2006/relationships/hyperlink" Target="https://c.spotler.com/ct/m13/k1/Kk8YOiiQoao7kD2FRynrzr6LKaPpfw1Puoh8DT7n4wma-eD5ogoFIxXf1HPDqMHJ/Y3CXrW6jmpa8ZWw" TargetMode="External"/><Relationship Id="rId4" Type="http://schemas.openxmlformats.org/officeDocument/2006/relationships/slide" Target="slide1.xml"/><Relationship Id="rId9" Type="http://schemas.openxmlformats.org/officeDocument/2006/relationships/hyperlink" Target="https://c.spotler.com/ct/m13/k1/_at3QiX5ZlTBNEeJAxRqU9BTg0e2D3p8dwHTtHWvweR-QmVMA8yURP0piQs22-eg/iYXGVc2u8k6VhfK?utm_medium=emai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111AAD2-D14A-0F13-DDC3-776D4638C04B}"/>
              </a:ext>
            </a:extLst>
          </p:cNvPr>
          <p:cNvSpPr/>
          <p:nvPr/>
        </p:nvSpPr>
        <p:spPr>
          <a:xfrm>
            <a:off x="0" y="860400"/>
            <a:ext cx="12192000" cy="734400"/>
          </a:xfrm>
          <a:prstGeom prst="rect">
            <a:avLst/>
          </a:prstGeom>
          <a:solidFill>
            <a:srgbClr val="CDC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4B48CF-C2C6-F7C0-0B0B-05698384AD85}"/>
              </a:ext>
            </a:extLst>
          </p:cNvPr>
          <p:cNvSpPr/>
          <p:nvPr/>
        </p:nvSpPr>
        <p:spPr>
          <a:xfrm>
            <a:off x="1238249" y="183054"/>
            <a:ext cx="106409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800" dirty="0">
                <a:solidFill>
                  <a:srgbClr val="453076"/>
                </a:solidFill>
                <a:latin typeface="Museo Sans 900" panose="02000000000000000000" pitchFamily="50" charset="0"/>
              </a:rPr>
              <a:t>Toezichtagenda AFM-</a:t>
            </a:r>
            <a:r>
              <a:rPr lang="nl-NL" sz="2800" dirty="0" err="1">
                <a:solidFill>
                  <a:srgbClr val="453076"/>
                </a:solidFill>
                <a:latin typeface="Museo Sans 900" panose="02000000000000000000" pitchFamily="50" charset="0"/>
              </a:rPr>
              <a:t>pensioentoezicht</a:t>
            </a:r>
            <a:endParaRPr lang="nl-NL" sz="3600" dirty="0">
              <a:latin typeface="Museo Sans 900" panose="02000000000000000000" pitchFamily="50" charset="0"/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2E46280E-EA4A-FE1A-3BB4-BBA1E6D5C6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4363"/>
          <a:stretch/>
        </p:blipFill>
        <p:spPr>
          <a:xfrm>
            <a:off x="590550" y="233460"/>
            <a:ext cx="647700" cy="428027"/>
          </a:xfrm>
          <a:prstGeom prst="rect">
            <a:avLst/>
          </a:prstGeom>
        </p:spPr>
      </p:pic>
      <p:sp>
        <p:nvSpPr>
          <p:cNvPr id="3" name="Rectangle 2">
            <a:hlinkClick r:id="rId4" action="ppaction://hlinksldjump"/>
            <a:extLst>
              <a:ext uri="{FF2B5EF4-FFF2-40B4-BE49-F238E27FC236}">
                <a16:creationId xmlns:a16="http://schemas.microsoft.com/office/drawing/2014/main" id="{4073DC9E-E180-37E2-AB8A-84290390E22B}"/>
              </a:ext>
            </a:extLst>
          </p:cNvPr>
          <p:cNvSpPr/>
          <p:nvPr/>
        </p:nvSpPr>
        <p:spPr>
          <a:xfrm>
            <a:off x="590550" y="860400"/>
            <a:ext cx="2170629" cy="7334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i="0" u="none" strike="noStrike" kern="1200" noProof="0" dirty="0">
                <a:solidFill>
                  <a:schemeClr val="bg1"/>
                </a:solidFill>
                <a:effectLst/>
                <a:latin typeface="Museo Sans 300" panose="02000000000000000000" pitchFamily="50" charset="0"/>
                <a:ea typeface="DotumChe" panose="020B0503020000020004" pitchFamily="49" charset="-127"/>
              </a:rPr>
              <a:t>Events</a:t>
            </a:r>
          </a:p>
        </p:txBody>
      </p:sp>
      <p:sp>
        <p:nvSpPr>
          <p:cNvPr id="5" name="Rectangle 4">
            <a:hlinkClick r:id="rId5" action="ppaction://hlinksldjump"/>
            <a:extLst>
              <a:ext uri="{FF2B5EF4-FFF2-40B4-BE49-F238E27FC236}">
                <a16:creationId xmlns:a16="http://schemas.microsoft.com/office/drawing/2014/main" id="{486AAEBF-E4BB-B9C5-2756-72834D9D1CF5}"/>
              </a:ext>
            </a:extLst>
          </p:cNvPr>
          <p:cNvSpPr/>
          <p:nvPr/>
        </p:nvSpPr>
        <p:spPr>
          <a:xfrm>
            <a:off x="721995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Communicatieplan</a:t>
            </a:r>
          </a:p>
        </p:txBody>
      </p:sp>
      <p:sp>
        <p:nvSpPr>
          <p:cNvPr id="6" name="Rectangle 5">
            <a:hlinkClick r:id="rId6" action="ppaction://hlinksldjump"/>
            <a:extLst>
              <a:ext uri="{FF2B5EF4-FFF2-40B4-BE49-F238E27FC236}">
                <a16:creationId xmlns:a16="http://schemas.microsoft.com/office/drawing/2014/main" id="{754D1558-6DB7-2416-CF50-D6E9725CB584}"/>
              </a:ext>
            </a:extLst>
          </p:cNvPr>
          <p:cNvSpPr/>
          <p:nvPr/>
        </p:nvSpPr>
        <p:spPr>
          <a:xfrm>
            <a:off x="501229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komende toezichtactiviteiten</a:t>
            </a:r>
          </a:p>
        </p:txBody>
      </p:sp>
      <p:sp>
        <p:nvSpPr>
          <p:cNvPr id="9" name="Rectangle 8">
            <a:hlinkClick r:id="rId7" action="ppaction://hlinksldjump"/>
            <a:extLst>
              <a:ext uri="{FF2B5EF4-FFF2-40B4-BE49-F238E27FC236}">
                <a16:creationId xmlns:a16="http://schemas.microsoft.com/office/drawing/2014/main" id="{E9AE5C54-3773-D62C-818E-DCAFA842F0A3}"/>
              </a:ext>
            </a:extLst>
          </p:cNvPr>
          <p:cNvSpPr/>
          <p:nvPr/>
        </p:nvSpPr>
        <p:spPr>
          <a:xfrm>
            <a:off x="2801421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Lopende</a:t>
            </a:r>
            <a:r>
              <a:rPr lang="nl-NL" sz="1600" dirty="0">
                <a:latin typeface="Museo Sans 300" panose="02000000000000000000" pitchFamily="50" charset="0"/>
              </a:rPr>
              <a:t> </a:t>
            </a:r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toezichtactiviteiten</a:t>
            </a:r>
          </a:p>
        </p:txBody>
      </p:sp>
      <p:sp>
        <p:nvSpPr>
          <p:cNvPr id="10" name="Rectangle 9">
            <a:hlinkClick r:id="rId8" action="ppaction://hlinksldjump"/>
            <a:extLst>
              <a:ext uri="{FF2B5EF4-FFF2-40B4-BE49-F238E27FC236}">
                <a16:creationId xmlns:a16="http://schemas.microsoft.com/office/drawing/2014/main" id="{AC75F941-696E-7EA0-2416-E11D6C79BCEA}"/>
              </a:ext>
            </a:extLst>
          </p:cNvPr>
          <p:cNvSpPr/>
          <p:nvPr/>
        </p:nvSpPr>
        <p:spPr>
          <a:xfrm>
            <a:off x="9430821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Direct</a:t>
            </a:r>
          </a:p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meld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D0D0FD-F912-4DAB-738F-64EAB196E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01450" y="6521569"/>
            <a:ext cx="7200000" cy="201083"/>
          </a:xfrm>
        </p:spPr>
        <p:txBody>
          <a:bodyPr/>
          <a:lstStyle/>
          <a:p>
            <a:pPr algn="r"/>
            <a:r>
              <a:rPr lang="nl-NL" dirty="0"/>
              <a:t>Editie 24 april 2024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5FC5D5-2EAD-6B8A-6783-D2E1D32FA893}"/>
              </a:ext>
            </a:extLst>
          </p:cNvPr>
          <p:cNvSpPr/>
          <p:nvPr/>
        </p:nvSpPr>
        <p:spPr>
          <a:xfrm>
            <a:off x="590550" y="2475608"/>
            <a:ext cx="2734424" cy="513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6 juni 202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446F773-32F4-8C18-0F49-842F423362F6}"/>
              </a:ext>
            </a:extLst>
          </p:cNvPr>
          <p:cNvSpPr/>
          <p:nvPr/>
        </p:nvSpPr>
        <p:spPr>
          <a:xfrm>
            <a:off x="3450826" y="2467784"/>
            <a:ext cx="8136314" cy="537384"/>
          </a:xfrm>
          <a:prstGeom prst="rect">
            <a:avLst/>
          </a:prstGeom>
          <a:solidFill>
            <a:srgbClr val="C5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AFM </a:t>
            </a:r>
            <a:r>
              <a:rPr lang="nl-NL" sz="1600" dirty="0" err="1">
                <a:solidFill>
                  <a:srgbClr val="453076"/>
                </a:solidFill>
                <a:latin typeface="Museo Sans 500" panose="02000000000000000000" pitchFamily="50" charset="0"/>
              </a:rPr>
              <a:t>Pensioenevent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(A’dam)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C41ED69-B94E-F932-0F01-52B86D76871E}"/>
              </a:ext>
            </a:extLst>
          </p:cNvPr>
          <p:cNvSpPr/>
          <p:nvPr/>
        </p:nvSpPr>
        <p:spPr>
          <a:xfrm>
            <a:off x="590550" y="3102948"/>
            <a:ext cx="2734424" cy="513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Nazomer 2024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A6FB669-CE78-EE84-5B65-E40B114026B2}"/>
              </a:ext>
            </a:extLst>
          </p:cNvPr>
          <p:cNvSpPr/>
          <p:nvPr/>
        </p:nvSpPr>
        <p:spPr>
          <a:xfrm>
            <a:off x="3450826" y="3109884"/>
            <a:ext cx="8136314" cy="514800"/>
          </a:xfrm>
          <a:prstGeom prst="rect">
            <a:avLst/>
          </a:prstGeom>
          <a:solidFill>
            <a:srgbClr val="C5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 err="1">
                <a:solidFill>
                  <a:srgbClr val="453076"/>
                </a:solidFill>
                <a:latin typeface="Museo Sans 500" panose="02000000000000000000" pitchFamily="50" charset="0"/>
              </a:rPr>
              <a:t>Rondetafel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communicatieplan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 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37A09F-52C0-8F5B-7E61-F3BC3895D30E}"/>
              </a:ext>
            </a:extLst>
          </p:cNvPr>
          <p:cNvSpPr/>
          <p:nvPr/>
        </p:nvSpPr>
        <p:spPr>
          <a:xfrm>
            <a:off x="593112" y="3730289"/>
            <a:ext cx="2734424" cy="513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25 juni 202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95FF25-7746-882A-9054-D914CA05EDD5}"/>
              </a:ext>
            </a:extLst>
          </p:cNvPr>
          <p:cNvSpPr/>
          <p:nvPr/>
        </p:nvSpPr>
        <p:spPr>
          <a:xfrm>
            <a:off x="3450826" y="3729401"/>
            <a:ext cx="8136314" cy="514800"/>
          </a:xfrm>
          <a:prstGeom prst="rect">
            <a:avLst/>
          </a:prstGeom>
          <a:solidFill>
            <a:srgbClr val="C5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Platform pensioentransitie (bij AFM)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 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383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AA93377-40FC-FF9E-D76D-AF3F5A2216AD}"/>
              </a:ext>
            </a:extLst>
          </p:cNvPr>
          <p:cNvSpPr/>
          <p:nvPr/>
        </p:nvSpPr>
        <p:spPr>
          <a:xfrm>
            <a:off x="0" y="860400"/>
            <a:ext cx="12192000" cy="734400"/>
          </a:xfrm>
          <a:prstGeom prst="rect">
            <a:avLst/>
          </a:prstGeom>
          <a:solidFill>
            <a:srgbClr val="CDC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4B48CF-C2C6-F7C0-0B0B-05698384AD85}"/>
              </a:ext>
            </a:extLst>
          </p:cNvPr>
          <p:cNvSpPr/>
          <p:nvPr/>
        </p:nvSpPr>
        <p:spPr>
          <a:xfrm>
            <a:off x="1238250" y="183054"/>
            <a:ext cx="70230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800" dirty="0">
                <a:solidFill>
                  <a:srgbClr val="453076"/>
                </a:solidFill>
                <a:latin typeface="Museo Sans 900" panose="02000000000000000000" pitchFamily="50" charset="0"/>
              </a:rPr>
              <a:t>Toezichtagenda AFM-</a:t>
            </a:r>
            <a:r>
              <a:rPr lang="nl-NL" sz="2800" dirty="0" err="1">
                <a:solidFill>
                  <a:srgbClr val="453076"/>
                </a:solidFill>
                <a:latin typeface="Museo Sans 900" panose="02000000000000000000" pitchFamily="50" charset="0"/>
              </a:rPr>
              <a:t>pensioentoezicht</a:t>
            </a:r>
            <a:endParaRPr lang="nl-NL" sz="3600" dirty="0">
              <a:latin typeface="Museo Sans 900" panose="02000000000000000000" pitchFamily="50" charset="0"/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2E46280E-EA4A-FE1A-3BB4-BBA1E6D5C6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4363"/>
          <a:stretch/>
        </p:blipFill>
        <p:spPr>
          <a:xfrm>
            <a:off x="590550" y="233460"/>
            <a:ext cx="647700" cy="428027"/>
          </a:xfrm>
          <a:prstGeom prst="rect">
            <a:avLst/>
          </a:prstGeom>
        </p:spPr>
      </p:pic>
      <p:sp>
        <p:nvSpPr>
          <p:cNvPr id="3" name="Rectangle 2">
            <a:hlinkClick r:id="rId4" action="ppaction://hlinksldjump"/>
            <a:extLst>
              <a:ext uri="{FF2B5EF4-FFF2-40B4-BE49-F238E27FC236}">
                <a16:creationId xmlns:a16="http://schemas.microsoft.com/office/drawing/2014/main" id="{4073DC9E-E180-37E2-AB8A-84290390E22B}"/>
              </a:ext>
            </a:extLst>
          </p:cNvPr>
          <p:cNvSpPr/>
          <p:nvPr/>
        </p:nvSpPr>
        <p:spPr>
          <a:xfrm>
            <a:off x="590479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i="0" u="none" strike="noStrike" kern="1200" noProof="0" dirty="0">
                <a:solidFill>
                  <a:schemeClr val="bg1"/>
                </a:solidFill>
                <a:effectLst/>
                <a:latin typeface="Museo Sans 300" panose="02000000000000000000" pitchFamily="50" charset="0"/>
                <a:ea typeface="DotumChe" panose="020B0503020000020004" pitchFamily="49" charset="-127"/>
              </a:rPr>
              <a:t>Events</a:t>
            </a:r>
          </a:p>
        </p:txBody>
      </p:sp>
      <p:sp>
        <p:nvSpPr>
          <p:cNvPr id="5" name="Rectangle 4">
            <a:hlinkClick r:id="rId5" action="ppaction://hlinksldjump"/>
            <a:extLst>
              <a:ext uri="{FF2B5EF4-FFF2-40B4-BE49-F238E27FC236}">
                <a16:creationId xmlns:a16="http://schemas.microsoft.com/office/drawing/2014/main" id="{486AAEBF-E4BB-B9C5-2756-72834D9D1CF5}"/>
              </a:ext>
            </a:extLst>
          </p:cNvPr>
          <p:cNvSpPr/>
          <p:nvPr/>
        </p:nvSpPr>
        <p:spPr>
          <a:xfrm>
            <a:off x="721995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Communicatieplan</a:t>
            </a:r>
            <a:endParaRPr lang="nl-NL" sz="1600" b="1" dirty="0">
              <a:solidFill>
                <a:schemeClr val="bg1"/>
              </a:solidFill>
              <a:latin typeface="Museo Sans 300" panose="02000000000000000000" pitchFamily="50" charset="0"/>
              <a:ea typeface="DotumChe" panose="020B0503020000020004" pitchFamily="49" charset="-127"/>
            </a:endParaRPr>
          </a:p>
        </p:txBody>
      </p:sp>
      <p:sp>
        <p:nvSpPr>
          <p:cNvPr id="6" name="Rectangle 5">
            <a:hlinkClick r:id="rId6" action="ppaction://hlinksldjump"/>
            <a:extLst>
              <a:ext uri="{FF2B5EF4-FFF2-40B4-BE49-F238E27FC236}">
                <a16:creationId xmlns:a16="http://schemas.microsoft.com/office/drawing/2014/main" id="{754D1558-6DB7-2416-CF50-D6E9725CB584}"/>
              </a:ext>
            </a:extLst>
          </p:cNvPr>
          <p:cNvSpPr/>
          <p:nvPr/>
        </p:nvSpPr>
        <p:spPr>
          <a:xfrm>
            <a:off x="501229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komende toezichtactiviteiten</a:t>
            </a:r>
          </a:p>
        </p:txBody>
      </p:sp>
      <p:sp>
        <p:nvSpPr>
          <p:cNvPr id="9" name="Rectangle 8">
            <a:hlinkClick r:id="rId7" action="ppaction://hlinksldjump"/>
            <a:extLst>
              <a:ext uri="{FF2B5EF4-FFF2-40B4-BE49-F238E27FC236}">
                <a16:creationId xmlns:a16="http://schemas.microsoft.com/office/drawing/2014/main" id="{E9AE5C54-3773-D62C-818E-DCAFA842F0A3}"/>
              </a:ext>
            </a:extLst>
          </p:cNvPr>
          <p:cNvSpPr/>
          <p:nvPr/>
        </p:nvSpPr>
        <p:spPr>
          <a:xfrm>
            <a:off x="2801421" y="860400"/>
            <a:ext cx="2170629" cy="733425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Lopende</a:t>
            </a:r>
            <a:r>
              <a:rPr lang="nl-NL" sz="1600" dirty="0">
                <a:latin typeface="Museo Sans 300" panose="02000000000000000000" pitchFamily="50" charset="0"/>
              </a:rPr>
              <a:t> </a:t>
            </a:r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toezichtactiviteiten</a:t>
            </a:r>
          </a:p>
        </p:txBody>
      </p:sp>
      <p:sp>
        <p:nvSpPr>
          <p:cNvPr id="10" name="Rectangle 9">
            <a:hlinkClick r:id="rId8" action="ppaction://hlinksldjump"/>
            <a:extLst>
              <a:ext uri="{FF2B5EF4-FFF2-40B4-BE49-F238E27FC236}">
                <a16:creationId xmlns:a16="http://schemas.microsoft.com/office/drawing/2014/main" id="{AC75F941-696E-7EA0-2416-E11D6C79BCEA}"/>
              </a:ext>
            </a:extLst>
          </p:cNvPr>
          <p:cNvSpPr/>
          <p:nvPr/>
        </p:nvSpPr>
        <p:spPr>
          <a:xfrm>
            <a:off x="9430821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Direct</a:t>
            </a:r>
          </a:p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melde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B83E3B9-AE99-CE0C-432D-69DDBB568CAB}"/>
              </a:ext>
            </a:extLst>
          </p:cNvPr>
          <p:cNvSpPr/>
          <p:nvPr/>
        </p:nvSpPr>
        <p:spPr>
          <a:xfrm>
            <a:off x="590479" y="3900328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1 – Q3 2024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0091A25-A0D2-74CF-F1B0-86F1B9CAE40D}"/>
              </a:ext>
            </a:extLst>
          </p:cNvPr>
          <p:cNvSpPr/>
          <p:nvPr/>
        </p:nvSpPr>
        <p:spPr>
          <a:xfrm>
            <a:off x="3482008" y="3860400"/>
            <a:ext cx="8136314" cy="517906"/>
          </a:xfrm>
          <a:prstGeom prst="rect">
            <a:avLst/>
          </a:prstGeom>
          <a:solidFill>
            <a:srgbClr val="D8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b="0" i="0" u="none" strike="noStrike" kern="1200" noProof="0" dirty="0">
                <a:solidFill>
                  <a:srgbClr val="453076"/>
                </a:solidFill>
                <a:effectLst/>
                <a:latin typeface="Museo Sans 500" panose="02000000000000000000" pitchFamily="50" charset="0"/>
                <a:ea typeface="DotumChe" panose="020B0503020000020004" pitchFamily="49" charset="-127"/>
                <a:cs typeface="+mn-cs"/>
              </a:rPr>
              <a:t>Onderzoek indexatie-AMvB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</a:rPr>
              <a:t>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 </a:t>
            </a:r>
            <a:endParaRPr lang="nl-NL" sz="1600" b="0" i="0" u="none" strike="noStrike" kern="1200" noProof="0" dirty="0">
              <a:solidFill>
                <a:srgbClr val="453076"/>
              </a:solidFill>
              <a:effectLst/>
              <a:latin typeface="Museo Sans 500" panose="02000000000000000000" pitchFamily="50" charset="0"/>
              <a:ea typeface="DotumChe" panose="020B0503020000020004" pitchFamily="49" charset="-127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9D2F481-E435-604F-1441-66F46033ED01}"/>
              </a:ext>
            </a:extLst>
          </p:cNvPr>
          <p:cNvSpPr/>
          <p:nvPr/>
        </p:nvSpPr>
        <p:spPr>
          <a:xfrm>
            <a:off x="590479" y="3265465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1 – Q3 2024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3A4FDD7-E45F-D650-BC1F-A53B46D7429B}"/>
              </a:ext>
            </a:extLst>
          </p:cNvPr>
          <p:cNvSpPr/>
          <p:nvPr/>
        </p:nvSpPr>
        <p:spPr>
          <a:xfrm>
            <a:off x="3482008" y="3241553"/>
            <a:ext cx="8136314" cy="513024"/>
          </a:xfrm>
          <a:prstGeom prst="rect">
            <a:avLst/>
          </a:prstGeom>
          <a:solidFill>
            <a:srgbClr val="D8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Onderzoek overbruggingsplan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 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4287967-E3B7-7353-5123-C9D9D6813410}"/>
              </a:ext>
            </a:extLst>
          </p:cNvPr>
          <p:cNvSpPr/>
          <p:nvPr/>
        </p:nvSpPr>
        <p:spPr>
          <a:xfrm>
            <a:off x="590479" y="1995739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2 2023 – Q2 2024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135505C-BDA5-962D-DDD7-318CDAF4DF0B}"/>
              </a:ext>
            </a:extLst>
          </p:cNvPr>
          <p:cNvSpPr/>
          <p:nvPr/>
        </p:nvSpPr>
        <p:spPr>
          <a:xfrm>
            <a:off x="3482008" y="1995739"/>
            <a:ext cx="8136314" cy="513024"/>
          </a:xfrm>
          <a:prstGeom prst="rect">
            <a:avLst/>
          </a:prstGeom>
          <a:solidFill>
            <a:srgbClr val="D8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Onderzoek niet (tijdig) verstrekte </a:t>
            </a:r>
            <a:r>
              <a:rPr lang="nl-NL" sz="1600" dirty="0" err="1">
                <a:solidFill>
                  <a:srgbClr val="453076"/>
                </a:solidFill>
                <a:latin typeface="Museo Sans 500" panose="02000000000000000000" pitchFamily="50" charset="0"/>
              </a:rPr>
              <a:t>UPO’s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DBD357C-1873-B853-908A-16566D98D614}"/>
              </a:ext>
            </a:extLst>
          </p:cNvPr>
          <p:cNvSpPr/>
          <p:nvPr/>
        </p:nvSpPr>
        <p:spPr>
          <a:xfrm>
            <a:off x="590479" y="2630602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3 2023 – Q2 2024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3E983BA-75A0-212E-269B-71EA6A1001A1}"/>
              </a:ext>
            </a:extLst>
          </p:cNvPr>
          <p:cNvSpPr/>
          <p:nvPr/>
        </p:nvSpPr>
        <p:spPr>
          <a:xfrm>
            <a:off x="3482008" y="2614586"/>
            <a:ext cx="8136314" cy="521144"/>
          </a:xfrm>
          <a:prstGeom prst="rect">
            <a:avLst/>
          </a:prstGeom>
          <a:solidFill>
            <a:srgbClr val="D8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Onderzoek SFDR, rapport april/mei 2024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C6A4DB4-1731-F612-F599-6361F253C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01450" y="6521569"/>
            <a:ext cx="7200000" cy="201083"/>
          </a:xfrm>
        </p:spPr>
        <p:txBody>
          <a:bodyPr/>
          <a:lstStyle/>
          <a:p>
            <a:pPr algn="r"/>
            <a:r>
              <a:rPr lang="nl-NL" dirty="0"/>
              <a:t>Editie 24 april 2024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BF0783-0B78-2101-B202-E9BEF6062567}"/>
              </a:ext>
            </a:extLst>
          </p:cNvPr>
          <p:cNvSpPr/>
          <p:nvPr/>
        </p:nvSpPr>
        <p:spPr>
          <a:xfrm>
            <a:off x="590479" y="5804916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1 – Q4 202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74BADD-E4F6-0186-1D8A-443CC386EFE0}"/>
              </a:ext>
            </a:extLst>
          </p:cNvPr>
          <p:cNvSpPr/>
          <p:nvPr/>
        </p:nvSpPr>
        <p:spPr>
          <a:xfrm>
            <a:off x="3482008" y="5770543"/>
            <a:ext cx="8136314" cy="537384"/>
          </a:xfrm>
          <a:prstGeom prst="rect">
            <a:avLst/>
          </a:prstGeom>
          <a:solidFill>
            <a:srgbClr val="D8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</a:rPr>
              <a:t>Onderzoek keuzebegeleiding </a:t>
            </a:r>
            <a:r>
              <a:rPr lang="nl-NL" sz="1600" b="1" dirty="0">
                <a:solidFill>
                  <a:srgbClr val="453076"/>
                </a:solidFill>
              </a:rPr>
              <a:t>→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 over keuzebegeleiding 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  <a:ea typeface="DotumChe" panose="020B0503020000020004" pitchFamily="49" charset="-127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023D088-F959-9E0B-CCDE-FEFEC1649982}"/>
              </a:ext>
            </a:extLst>
          </p:cNvPr>
          <p:cNvSpPr/>
          <p:nvPr/>
        </p:nvSpPr>
        <p:spPr>
          <a:xfrm>
            <a:off x="590479" y="4535191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1 – Q3 202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C44E74-57E5-668B-5BAE-94FC6CFA2317}"/>
              </a:ext>
            </a:extLst>
          </p:cNvPr>
          <p:cNvSpPr/>
          <p:nvPr/>
        </p:nvSpPr>
        <p:spPr>
          <a:xfrm>
            <a:off x="3482008" y="4484129"/>
            <a:ext cx="8136314" cy="537384"/>
          </a:xfrm>
          <a:prstGeom prst="rect">
            <a:avLst/>
          </a:prstGeom>
          <a:solidFill>
            <a:srgbClr val="D8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</a:rPr>
              <a:t>Onderzoek opdrachtbevestiging </a:t>
            </a:r>
            <a:r>
              <a:rPr lang="nl-NL" sz="1600" b="1" dirty="0">
                <a:solidFill>
                  <a:srgbClr val="453076"/>
                </a:solidFill>
              </a:rPr>
              <a:t>→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  <a:ea typeface="DotumChe" panose="020B0503020000020004" pitchFamily="49" charset="-127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451A73-A56B-2442-76E4-80C2AD9C3420}"/>
              </a:ext>
            </a:extLst>
          </p:cNvPr>
          <p:cNvSpPr/>
          <p:nvPr/>
        </p:nvSpPr>
        <p:spPr>
          <a:xfrm>
            <a:off x="590479" y="5170054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1 – Q3 202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AD0911B-4CB4-F708-547C-8430CB98D19C}"/>
              </a:ext>
            </a:extLst>
          </p:cNvPr>
          <p:cNvSpPr/>
          <p:nvPr/>
        </p:nvSpPr>
        <p:spPr>
          <a:xfrm>
            <a:off x="3482008" y="5127336"/>
            <a:ext cx="8136314" cy="537384"/>
          </a:xfrm>
          <a:prstGeom prst="rect">
            <a:avLst/>
          </a:prstGeom>
          <a:solidFill>
            <a:srgbClr val="D8F7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</a:rPr>
              <a:t>Onderzoek </a:t>
            </a:r>
            <a:r>
              <a:rPr lang="nl-NL" sz="1600" dirty="0" err="1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</a:rPr>
              <a:t>risicopreferentieonderzoek</a:t>
            </a:r>
            <a:r>
              <a:rPr lang="nl-NL" sz="1600" b="1" dirty="0">
                <a:solidFill>
                  <a:srgbClr val="453076"/>
                </a:solidFill>
              </a:rPr>
              <a:t> 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r>
              <a:rPr lang="nl-NL" sz="1600" dirty="0">
                <a:solidFill>
                  <a:srgbClr val="453076"/>
                </a:solidFill>
                <a:highlight>
                  <a:srgbClr val="FFFF00"/>
                </a:highlight>
                <a:latin typeface="Museo Sans 500" panose="02000000000000000000" pitchFamily="50" charset="0"/>
              </a:rPr>
              <a:t> 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  <a:ea typeface="DotumChe" panose="020B0503020000020004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4315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DCCB4A6-A6B5-E5BD-612A-9BBB0D887372}"/>
              </a:ext>
            </a:extLst>
          </p:cNvPr>
          <p:cNvSpPr/>
          <p:nvPr/>
        </p:nvSpPr>
        <p:spPr>
          <a:xfrm>
            <a:off x="-10274" y="860400"/>
            <a:ext cx="12202274" cy="734400"/>
          </a:xfrm>
          <a:prstGeom prst="rect">
            <a:avLst/>
          </a:prstGeom>
          <a:solidFill>
            <a:srgbClr val="CDC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4B48CF-C2C6-F7C0-0B0B-05698384AD85}"/>
              </a:ext>
            </a:extLst>
          </p:cNvPr>
          <p:cNvSpPr/>
          <p:nvPr/>
        </p:nvSpPr>
        <p:spPr>
          <a:xfrm>
            <a:off x="1238250" y="183054"/>
            <a:ext cx="70230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800" dirty="0">
                <a:solidFill>
                  <a:srgbClr val="453076"/>
                </a:solidFill>
                <a:latin typeface="Museo Sans 900" panose="02000000000000000000" pitchFamily="50" charset="0"/>
              </a:rPr>
              <a:t>Toezichtagenda AFM-</a:t>
            </a:r>
            <a:r>
              <a:rPr lang="nl-NL" sz="2800" dirty="0" err="1">
                <a:solidFill>
                  <a:srgbClr val="453076"/>
                </a:solidFill>
                <a:latin typeface="Museo Sans 900" panose="02000000000000000000" pitchFamily="50" charset="0"/>
              </a:rPr>
              <a:t>pensioentoezicht</a:t>
            </a:r>
            <a:endParaRPr lang="nl-NL" sz="3600" dirty="0">
              <a:latin typeface="Museo Sans 900" panose="02000000000000000000" pitchFamily="50" charset="0"/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2E46280E-EA4A-FE1A-3BB4-BBA1E6D5C6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4363"/>
          <a:stretch/>
        </p:blipFill>
        <p:spPr>
          <a:xfrm>
            <a:off x="590550" y="233460"/>
            <a:ext cx="647700" cy="428027"/>
          </a:xfrm>
          <a:prstGeom prst="rect">
            <a:avLst/>
          </a:prstGeom>
        </p:spPr>
      </p:pic>
      <p:sp>
        <p:nvSpPr>
          <p:cNvPr id="3" name="Rectangle 2">
            <a:hlinkClick r:id="rId4" action="ppaction://hlinksldjump"/>
            <a:extLst>
              <a:ext uri="{FF2B5EF4-FFF2-40B4-BE49-F238E27FC236}">
                <a16:creationId xmlns:a16="http://schemas.microsoft.com/office/drawing/2014/main" id="{4073DC9E-E180-37E2-AB8A-84290390E22B}"/>
              </a:ext>
            </a:extLst>
          </p:cNvPr>
          <p:cNvSpPr/>
          <p:nvPr/>
        </p:nvSpPr>
        <p:spPr>
          <a:xfrm>
            <a:off x="582114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i="0" u="none" strike="noStrike" kern="1200" noProof="0" dirty="0">
                <a:solidFill>
                  <a:schemeClr val="bg1"/>
                </a:solidFill>
                <a:effectLst/>
                <a:latin typeface="Museo Sans 300" panose="02000000000000000000" pitchFamily="50" charset="0"/>
                <a:ea typeface="DotumChe" panose="020B0503020000020004" pitchFamily="49" charset="-127"/>
              </a:rPr>
              <a:t>Events</a:t>
            </a:r>
          </a:p>
        </p:txBody>
      </p:sp>
      <p:sp>
        <p:nvSpPr>
          <p:cNvPr id="5" name="Rectangle 4">
            <a:hlinkClick r:id="rId5" action="ppaction://hlinksldjump"/>
            <a:extLst>
              <a:ext uri="{FF2B5EF4-FFF2-40B4-BE49-F238E27FC236}">
                <a16:creationId xmlns:a16="http://schemas.microsoft.com/office/drawing/2014/main" id="{486AAEBF-E4BB-B9C5-2756-72834D9D1CF5}"/>
              </a:ext>
            </a:extLst>
          </p:cNvPr>
          <p:cNvSpPr/>
          <p:nvPr/>
        </p:nvSpPr>
        <p:spPr>
          <a:xfrm>
            <a:off x="721995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Communicatieplan</a:t>
            </a:r>
            <a:endParaRPr lang="nl-NL" sz="1600" b="1" dirty="0">
              <a:solidFill>
                <a:schemeClr val="bg1"/>
              </a:solidFill>
              <a:latin typeface="Museo Sans 300" panose="02000000000000000000" pitchFamily="50" charset="0"/>
              <a:ea typeface="DotumChe" panose="020B0503020000020004" pitchFamily="49" charset="-127"/>
            </a:endParaRPr>
          </a:p>
        </p:txBody>
      </p:sp>
      <p:sp>
        <p:nvSpPr>
          <p:cNvPr id="6" name="Rectangle 5">
            <a:hlinkClick r:id="rId6" action="ppaction://hlinksldjump"/>
            <a:extLst>
              <a:ext uri="{FF2B5EF4-FFF2-40B4-BE49-F238E27FC236}">
                <a16:creationId xmlns:a16="http://schemas.microsoft.com/office/drawing/2014/main" id="{754D1558-6DB7-2416-CF50-D6E9725CB584}"/>
              </a:ext>
            </a:extLst>
          </p:cNvPr>
          <p:cNvSpPr/>
          <p:nvPr/>
        </p:nvSpPr>
        <p:spPr>
          <a:xfrm>
            <a:off x="5012292" y="860400"/>
            <a:ext cx="2170629" cy="733425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komende toezichtactiviteiten</a:t>
            </a:r>
          </a:p>
        </p:txBody>
      </p:sp>
      <p:sp>
        <p:nvSpPr>
          <p:cNvPr id="9" name="Rectangle 8">
            <a:hlinkClick r:id="rId7" action="ppaction://hlinksldjump"/>
            <a:extLst>
              <a:ext uri="{FF2B5EF4-FFF2-40B4-BE49-F238E27FC236}">
                <a16:creationId xmlns:a16="http://schemas.microsoft.com/office/drawing/2014/main" id="{E9AE5C54-3773-D62C-818E-DCAFA842F0A3}"/>
              </a:ext>
            </a:extLst>
          </p:cNvPr>
          <p:cNvSpPr/>
          <p:nvPr/>
        </p:nvSpPr>
        <p:spPr>
          <a:xfrm>
            <a:off x="2801421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Lopende</a:t>
            </a:r>
            <a:r>
              <a:rPr lang="nl-NL" sz="1600" dirty="0">
                <a:latin typeface="Museo Sans 300" panose="02000000000000000000" pitchFamily="50" charset="0"/>
              </a:rPr>
              <a:t> </a:t>
            </a:r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toezichtactiviteiten</a:t>
            </a:r>
          </a:p>
        </p:txBody>
      </p:sp>
      <p:sp>
        <p:nvSpPr>
          <p:cNvPr id="10" name="Rectangle 9">
            <a:hlinkClick r:id="rId8" action="ppaction://hlinksldjump"/>
            <a:extLst>
              <a:ext uri="{FF2B5EF4-FFF2-40B4-BE49-F238E27FC236}">
                <a16:creationId xmlns:a16="http://schemas.microsoft.com/office/drawing/2014/main" id="{AC75F941-696E-7EA0-2416-E11D6C79BCEA}"/>
              </a:ext>
            </a:extLst>
          </p:cNvPr>
          <p:cNvSpPr/>
          <p:nvPr/>
        </p:nvSpPr>
        <p:spPr>
          <a:xfrm>
            <a:off x="9430821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Direct</a:t>
            </a:r>
          </a:p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meld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9462D4-29B8-F7BB-7E52-7962AADC69B9}"/>
              </a:ext>
            </a:extLst>
          </p:cNvPr>
          <p:cNvSpPr/>
          <p:nvPr/>
        </p:nvSpPr>
        <p:spPr>
          <a:xfrm>
            <a:off x="582114" y="2475868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1 april – 30 sept 202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8E2A18-61FA-9A9F-9FC2-32B0326AB947}"/>
              </a:ext>
            </a:extLst>
          </p:cNvPr>
          <p:cNvSpPr/>
          <p:nvPr/>
        </p:nvSpPr>
        <p:spPr>
          <a:xfrm>
            <a:off x="3465136" y="2485615"/>
            <a:ext cx="8136314" cy="53738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</a:rPr>
              <a:t>Aanleveren toezichtrapportage over 2023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ea typeface="DotumChe" panose="020B0503020000020004" pitchFamily="49" charset="-127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  <a:ea typeface="DotumChe" panose="020B0503020000020004" pitchFamily="49" charset="-127"/>
            </a:endParaRPr>
          </a:p>
        </p:txBody>
      </p:sp>
      <p:sp>
        <p:nvSpPr>
          <p:cNvPr id="16" name="Footer Placeholder 10">
            <a:extLst>
              <a:ext uri="{FF2B5EF4-FFF2-40B4-BE49-F238E27FC236}">
                <a16:creationId xmlns:a16="http://schemas.microsoft.com/office/drawing/2014/main" id="{9F270E06-F4CB-07BF-AFFB-389446792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01450" y="6532852"/>
            <a:ext cx="7200000" cy="201083"/>
          </a:xfrm>
        </p:spPr>
        <p:txBody>
          <a:bodyPr/>
          <a:lstStyle/>
          <a:p>
            <a:pPr algn="r"/>
            <a:r>
              <a:rPr lang="nl-NL" dirty="0"/>
              <a:t>Editie 24 april 202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3B7240-2005-E448-0DC6-DDF4358991C6}"/>
              </a:ext>
            </a:extLst>
          </p:cNvPr>
          <p:cNvSpPr/>
          <p:nvPr/>
        </p:nvSpPr>
        <p:spPr>
          <a:xfrm>
            <a:off x="582114" y="3103468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Mei 2024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EE7975F-8E80-A4A1-DADF-04EBAA5B0ADF}"/>
              </a:ext>
            </a:extLst>
          </p:cNvPr>
          <p:cNvSpPr/>
          <p:nvPr/>
        </p:nvSpPr>
        <p:spPr>
          <a:xfrm>
            <a:off x="3465136" y="3122962"/>
            <a:ext cx="8136314" cy="50814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Sectorbeeld pensioenen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D5B9DB2-A70C-5D66-A2AF-8A6A33A6D959}"/>
              </a:ext>
            </a:extLst>
          </p:cNvPr>
          <p:cNvSpPr/>
          <p:nvPr/>
        </p:nvSpPr>
        <p:spPr>
          <a:xfrm>
            <a:off x="582114" y="3731068"/>
            <a:ext cx="2734424" cy="513024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Q2-Q3 202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10B8DE-25AC-EDCA-33C1-DCA070572AB5}"/>
              </a:ext>
            </a:extLst>
          </p:cNvPr>
          <p:cNvSpPr/>
          <p:nvPr/>
        </p:nvSpPr>
        <p:spPr>
          <a:xfrm>
            <a:off x="3482786" y="3731068"/>
            <a:ext cx="8136314" cy="508143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Update leidraad Collectieve waardeoverdracht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meer</a:t>
            </a:r>
            <a:endParaRPr lang="nl-NL" sz="1600" dirty="0">
              <a:solidFill>
                <a:srgbClr val="453076"/>
              </a:solidFill>
              <a:latin typeface="Museo Sans 500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056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F1D461C-74FA-693A-628F-63930FBE9A9E}"/>
              </a:ext>
            </a:extLst>
          </p:cNvPr>
          <p:cNvSpPr/>
          <p:nvPr/>
        </p:nvSpPr>
        <p:spPr>
          <a:xfrm>
            <a:off x="0" y="860400"/>
            <a:ext cx="12192000" cy="734400"/>
          </a:xfrm>
          <a:prstGeom prst="rect">
            <a:avLst/>
          </a:prstGeom>
          <a:solidFill>
            <a:srgbClr val="CDC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4B48CF-C2C6-F7C0-0B0B-05698384AD85}"/>
              </a:ext>
            </a:extLst>
          </p:cNvPr>
          <p:cNvSpPr/>
          <p:nvPr/>
        </p:nvSpPr>
        <p:spPr>
          <a:xfrm>
            <a:off x="1238250" y="183054"/>
            <a:ext cx="70230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800" dirty="0">
                <a:solidFill>
                  <a:srgbClr val="453076"/>
                </a:solidFill>
                <a:latin typeface="Museo Sans 900" panose="02000000000000000000" pitchFamily="50" charset="0"/>
              </a:rPr>
              <a:t>Toezichtagenda AFM-</a:t>
            </a:r>
            <a:r>
              <a:rPr lang="nl-NL" sz="2800" dirty="0" err="1">
                <a:solidFill>
                  <a:srgbClr val="453076"/>
                </a:solidFill>
                <a:latin typeface="Museo Sans 900" panose="02000000000000000000" pitchFamily="50" charset="0"/>
              </a:rPr>
              <a:t>pensioentoezicht</a:t>
            </a:r>
            <a:endParaRPr lang="nl-NL" sz="3600" dirty="0">
              <a:latin typeface="Museo Sans 900" panose="02000000000000000000" pitchFamily="50" charset="0"/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2E46280E-EA4A-FE1A-3BB4-BBA1E6D5C6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4363"/>
          <a:stretch/>
        </p:blipFill>
        <p:spPr>
          <a:xfrm>
            <a:off x="590550" y="233460"/>
            <a:ext cx="647700" cy="428027"/>
          </a:xfrm>
          <a:prstGeom prst="rect">
            <a:avLst/>
          </a:prstGeom>
        </p:spPr>
      </p:pic>
      <p:sp>
        <p:nvSpPr>
          <p:cNvPr id="3" name="Rectangle 2">
            <a:hlinkClick r:id="rId4" action="ppaction://hlinksldjump"/>
            <a:extLst>
              <a:ext uri="{FF2B5EF4-FFF2-40B4-BE49-F238E27FC236}">
                <a16:creationId xmlns:a16="http://schemas.microsoft.com/office/drawing/2014/main" id="{4073DC9E-E180-37E2-AB8A-84290390E22B}"/>
              </a:ext>
            </a:extLst>
          </p:cNvPr>
          <p:cNvSpPr/>
          <p:nvPr/>
        </p:nvSpPr>
        <p:spPr>
          <a:xfrm>
            <a:off x="590549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i="0" u="none" strike="noStrike" kern="1200" noProof="0" dirty="0">
                <a:solidFill>
                  <a:schemeClr val="bg1"/>
                </a:solidFill>
                <a:effectLst/>
                <a:latin typeface="Museo Sans 300" panose="02000000000000000000" pitchFamily="50" charset="0"/>
                <a:ea typeface="DotumChe" panose="020B0503020000020004" pitchFamily="49" charset="-127"/>
              </a:rPr>
              <a:t>Events</a:t>
            </a:r>
          </a:p>
        </p:txBody>
      </p:sp>
      <p:sp>
        <p:nvSpPr>
          <p:cNvPr id="5" name="Rectangle 4">
            <a:hlinkClick r:id="rId5" action="ppaction://hlinksldjump"/>
            <a:extLst>
              <a:ext uri="{FF2B5EF4-FFF2-40B4-BE49-F238E27FC236}">
                <a16:creationId xmlns:a16="http://schemas.microsoft.com/office/drawing/2014/main" id="{486AAEBF-E4BB-B9C5-2756-72834D9D1CF5}"/>
              </a:ext>
            </a:extLst>
          </p:cNvPr>
          <p:cNvSpPr/>
          <p:nvPr/>
        </p:nvSpPr>
        <p:spPr>
          <a:xfrm>
            <a:off x="7219952" y="860400"/>
            <a:ext cx="2170629" cy="733425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Communicatieplan</a:t>
            </a:r>
          </a:p>
        </p:txBody>
      </p:sp>
      <p:sp>
        <p:nvSpPr>
          <p:cNvPr id="6" name="Rectangle 5">
            <a:hlinkClick r:id="rId6" action="ppaction://hlinksldjump"/>
            <a:extLst>
              <a:ext uri="{FF2B5EF4-FFF2-40B4-BE49-F238E27FC236}">
                <a16:creationId xmlns:a16="http://schemas.microsoft.com/office/drawing/2014/main" id="{754D1558-6DB7-2416-CF50-D6E9725CB584}"/>
              </a:ext>
            </a:extLst>
          </p:cNvPr>
          <p:cNvSpPr/>
          <p:nvPr/>
        </p:nvSpPr>
        <p:spPr>
          <a:xfrm>
            <a:off x="501229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komende toezichtactiviteiten</a:t>
            </a:r>
          </a:p>
        </p:txBody>
      </p:sp>
      <p:sp>
        <p:nvSpPr>
          <p:cNvPr id="9" name="Rectangle 8">
            <a:hlinkClick r:id="rId7" action="ppaction://hlinksldjump"/>
            <a:extLst>
              <a:ext uri="{FF2B5EF4-FFF2-40B4-BE49-F238E27FC236}">
                <a16:creationId xmlns:a16="http://schemas.microsoft.com/office/drawing/2014/main" id="{E9AE5C54-3773-D62C-818E-DCAFA842F0A3}"/>
              </a:ext>
            </a:extLst>
          </p:cNvPr>
          <p:cNvSpPr/>
          <p:nvPr/>
        </p:nvSpPr>
        <p:spPr>
          <a:xfrm>
            <a:off x="2801420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Lopende</a:t>
            </a:r>
            <a:r>
              <a:rPr lang="nl-NL" sz="1600" dirty="0">
                <a:latin typeface="Museo Sans 300" panose="02000000000000000000" pitchFamily="50" charset="0"/>
              </a:rPr>
              <a:t> </a:t>
            </a:r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toezichtactiviteiten</a:t>
            </a:r>
          </a:p>
        </p:txBody>
      </p:sp>
      <p:sp>
        <p:nvSpPr>
          <p:cNvPr id="10" name="Rectangle 9">
            <a:hlinkClick r:id="rId8" action="ppaction://hlinksldjump"/>
            <a:extLst>
              <a:ext uri="{FF2B5EF4-FFF2-40B4-BE49-F238E27FC236}">
                <a16:creationId xmlns:a16="http://schemas.microsoft.com/office/drawing/2014/main" id="{AC75F941-696E-7EA0-2416-E11D6C79BCEA}"/>
              </a:ext>
            </a:extLst>
          </p:cNvPr>
          <p:cNvSpPr/>
          <p:nvPr/>
        </p:nvSpPr>
        <p:spPr>
          <a:xfrm>
            <a:off x="9430821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Direct</a:t>
            </a:r>
          </a:p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meld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89DEFA-9A9A-5874-63C1-AE9002724F1C}"/>
              </a:ext>
            </a:extLst>
          </p:cNvPr>
          <p:cNvSpPr/>
          <p:nvPr/>
        </p:nvSpPr>
        <p:spPr>
          <a:xfrm>
            <a:off x="9430821" y="2423385"/>
            <a:ext cx="2170630" cy="513024"/>
          </a:xfrm>
          <a:prstGeom prst="rect">
            <a:avLst/>
          </a:prstGeom>
          <a:solidFill>
            <a:srgbClr val="007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Meer informatie:</a:t>
            </a:r>
          </a:p>
        </p:txBody>
      </p:sp>
      <p:sp>
        <p:nvSpPr>
          <p:cNvPr id="48" name="Rectangle 47">
            <a:hlinkClick r:id="rId9"/>
            <a:extLst>
              <a:ext uri="{FF2B5EF4-FFF2-40B4-BE49-F238E27FC236}">
                <a16:creationId xmlns:a16="http://schemas.microsoft.com/office/drawing/2014/main" id="{79D2F481-E435-604F-1441-66F46033ED01}"/>
              </a:ext>
            </a:extLst>
          </p:cNvPr>
          <p:cNvSpPr/>
          <p:nvPr/>
        </p:nvSpPr>
        <p:spPr>
          <a:xfrm>
            <a:off x="9430821" y="3030390"/>
            <a:ext cx="2170630" cy="513024"/>
          </a:xfrm>
          <a:prstGeom prst="rect">
            <a:avLst/>
          </a:prstGeom>
          <a:solidFill>
            <a:srgbClr val="007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Inschrijven</a:t>
            </a:r>
          </a:p>
        </p:txBody>
      </p:sp>
      <p:sp>
        <p:nvSpPr>
          <p:cNvPr id="50" name="Rectangle 49">
            <a:hlinkClick r:id="rId10"/>
            <a:extLst>
              <a:ext uri="{FF2B5EF4-FFF2-40B4-BE49-F238E27FC236}">
                <a16:creationId xmlns:a16="http://schemas.microsoft.com/office/drawing/2014/main" id="{1233A4AF-3A1D-9DC1-B9D8-9D211A7A208A}"/>
              </a:ext>
            </a:extLst>
          </p:cNvPr>
          <p:cNvSpPr/>
          <p:nvPr/>
        </p:nvSpPr>
        <p:spPr>
          <a:xfrm>
            <a:off x="9430821" y="3641655"/>
            <a:ext cx="2170630" cy="513024"/>
          </a:xfrm>
          <a:prstGeom prst="rect">
            <a:avLst/>
          </a:prstGeom>
          <a:solidFill>
            <a:srgbClr val="007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Leidraad</a:t>
            </a:r>
          </a:p>
        </p:txBody>
      </p:sp>
      <p:sp>
        <p:nvSpPr>
          <p:cNvPr id="52" name="Rectangle 51">
            <a:hlinkClick r:id="rId11"/>
            <a:extLst>
              <a:ext uri="{FF2B5EF4-FFF2-40B4-BE49-F238E27FC236}">
                <a16:creationId xmlns:a16="http://schemas.microsoft.com/office/drawing/2014/main" id="{84287967-E3B7-7353-5123-C9D9D6813410}"/>
              </a:ext>
            </a:extLst>
          </p:cNvPr>
          <p:cNvSpPr/>
          <p:nvPr/>
        </p:nvSpPr>
        <p:spPr>
          <a:xfrm>
            <a:off x="9430821" y="4252920"/>
            <a:ext cx="2170630" cy="513024"/>
          </a:xfrm>
          <a:prstGeom prst="rect">
            <a:avLst/>
          </a:prstGeom>
          <a:solidFill>
            <a:srgbClr val="007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Veelgestelde vrage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FFED00-EB9A-2B07-AD39-AA6881DF5A68}"/>
              </a:ext>
            </a:extLst>
          </p:cNvPr>
          <p:cNvSpPr/>
          <p:nvPr/>
        </p:nvSpPr>
        <p:spPr>
          <a:xfrm>
            <a:off x="590549" y="2423385"/>
            <a:ext cx="2170630" cy="513024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Deadline inschrijv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CE7CA8-F37F-F4AB-A226-FD6D7BE80F01}"/>
              </a:ext>
            </a:extLst>
          </p:cNvPr>
          <p:cNvSpPr/>
          <p:nvPr/>
        </p:nvSpPr>
        <p:spPr>
          <a:xfrm>
            <a:off x="2801420" y="2423385"/>
            <a:ext cx="2170630" cy="513024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Inlevermo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A8921FF-62EB-BBFE-23D7-843A6A286047}"/>
              </a:ext>
            </a:extLst>
          </p:cNvPr>
          <p:cNvSpPr/>
          <p:nvPr/>
        </p:nvSpPr>
        <p:spPr>
          <a:xfrm>
            <a:off x="5012292" y="2423385"/>
            <a:ext cx="2170630" cy="513024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Terugkoppeling op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CBDA19-086C-6E35-B87F-E65FC9BFAE5F}"/>
              </a:ext>
            </a:extLst>
          </p:cNvPr>
          <p:cNvSpPr/>
          <p:nvPr/>
        </p:nvSpPr>
        <p:spPr>
          <a:xfrm>
            <a:off x="590549" y="3641655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18 augustus 202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A25EEA-ED8F-DB13-4E09-46AD26E8B8AE}"/>
              </a:ext>
            </a:extLst>
          </p:cNvPr>
          <p:cNvSpPr/>
          <p:nvPr/>
        </p:nvSpPr>
        <p:spPr>
          <a:xfrm>
            <a:off x="2801420" y="3641655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13 oktober 202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E5A8C2D-02CA-CA2C-1241-F2416F54961E}"/>
              </a:ext>
            </a:extLst>
          </p:cNvPr>
          <p:cNvSpPr/>
          <p:nvPr/>
        </p:nvSpPr>
        <p:spPr>
          <a:xfrm>
            <a:off x="5012292" y="3641655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8 december 2024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8AA2B00-AB88-72C3-8A57-17F3B9EA7D76}"/>
              </a:ext>
            </a:extLst>
          </p:cNvPr>
          <p:cNvSpPr/>
          <p:nvPr/>
        </p:nvSpPr>
        <p:spPr>
          <a:xfrm>
            <a:off x="590549" y="303039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19 mei 202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DDB08C9-BEB3-0158-639E-A4FB5810EFD7}"/>
              </a:ext>
            </a:extLst>
          </p:cNvPr>
          <p:cNvSpPr/>
          <p:nvPr/>
        </p:nvSpPr>
        <p:spPr>
          <a:xfrm>
            <a:off x="2801420" y="303039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14 juli 2024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85BB7CC-0FC3-CF63-98A3-567448CB84C6}"/>
              </a:ext>
            </a:extLst>
          </p:cNvPr>
          <p:cNvSpPr/>
          <p:nvPr/>
        </p:nvSpPr>
        <p:spPr>
          <a:xfrm>
            <a:off x="5012292" y="303039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8 september 2024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889A33A-989B-7F43-AA36-E009DCEC6175}"/>
              </a:ext>
            </a:extLst>
          </p:cNvPr>
          <p:cNvSpPr/>
          <p:nvPr/>
        </p:nvSpPr>
        <p:spPr>
          <a:xfrm>
            <a:off x="7219952" y="2423385"/>
            <a:ext cx="2170630" cy="513024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Aantal plekk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8D6995-3354-EFD8-53D7-E4E643CECEE2}"/>
              </a:ext>
            </a:extLst>
          </p:cNvPr>
          <p:cNvSpPr/>
          <p:nvPr/>
        </p:nvSpPr>
        <p:spPr>
          <a:xfrm>
            <a:off x="7219952" y="3641655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4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B5FC0-57AD-F575-DA4D-A3397F037694}"/>
              </a:ext>
            </a:extLst>
          </p:cNvPr>
          <p:cNvSpPr/>
          <p:nvPr/>
        </p:nvSpPr>
        <p:spPr>
          <a:xfrm>
            <a:off x="7219952" y="303039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30</a:t>
            </a:r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CD84F1B3-2300-0E5A-89F7-EFD60B2A4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01450" y="6487250"/>
            <a:ext cx="7200000" cy="201083"/>
          </a:xfrm>
        </p:spPr>
        <p:txBody>
          <a:bodyPr/>
          <a:lstStyle/>
          <a:p>
            <a:pPr algn="r"/>
            <a:r>
              <a:rPr lang="nl-NL" dirty="0"/>
              <a:t>Editie 24 april 2024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8B5B34-CD83-07A3-70E0-70A438A38043}"/>
              </a:ext>
            </a:extLst>
          </p:cNvPr>
          <p:cNvSpPr/>
          <p:nvPr/>
        </p:nvSpPr>
        <p:spPr>
          <a:xfrm>
            <a:off x="590378" y="425292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17 november 2024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1BAE14F-B938-4866-03FD-7D2CADA2296C}"/>
              </a:ext>
            </a:extLst>
          </p:cNvPr>
          <p:cNvSpPr/>
          <p:nvPr/>
        </p:nvSpPr>
        <p:spPr>
          <a:xfrm>
            <a:off x="2801249" y="425292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12 januari 2025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C73A9ED-467E-64F3-D191-013529DD6387}"/>
              </a:ext>
            </a:extLst>
          </p:cNvPr>
          <p:cNvSpPr/>
          <p:nvPr/>
        </p:nvSpPr>
        <p:spPr>
          <a:xfrm>
            <a:off x="5012121" y="425292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9 maart 2025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382A9D-3119-AC6F-244C-44E305A26CBC}"/>
              </a:ext>
            </a:extLst>
          </p:cNvPr>
          <p:cNvSpPr/>
          <p:nvPr/>
        </p:nvSpPr>
        <p:spPr>
          <a:xfrm>
            <a:off x="7219781" y="4252920"/>
            <a:ext cx="2170800" cy="5130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60</a:t>
            </a:r>
          </a:p>
        </p:txBody>
      </p:sp>
    </p:spTree>
    <p:extLst>
      <p:ext uri="{BB962C8B-B14F-4D97-AF65-F5344CB8AC3E}">
        <p14:creationId xmlns:p14="http://schemas.microsoft.com/office/powerpoint/2010/main" val="1820046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A81B37D-1846-1562-14D0-F82EB269E691}"/>
              </a:ext>
            </a:extLst>
          </p:cNvPr>
          <p:cNvSpPr/>
          <p:nvPr/>
        </p:nvSpPr>
        <p:spPr>
          <a:xfrm>
            <a:off x="0" y="860400"/>
            <a:ext cx="12192000" cy="734400"/>
          </a:xfrm>
          <a:prstGeom prst="rect">
            <a:avLst/>
          </a:prstGeom>
          <a:solidFill>
            <a:srgbClr val="CDC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4B48CF-C2C6-F7C0-0B0B-05698384AD85}"/>
              </a:ext>
            </a:extLst>
          </p:cNvPr>
          <p:cNvSpPr/>
          <p:nvPr/>
        </p:nvSpPr>
        <p:spPr>
          <a:xfrm>
            <a:off x="1238250" y="183054"/>
            <a:ext cx="70230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800" dirty="0">
                <a:solidFill>
                  <a:srgbClr val="453076"/>
                </a:solidFill>
                <a:latin typeface="Museo Sans 900" panose="02000000000000000000" pitchFamily="50" charset="0"/>
              </a:rPr>
              <a:t>Toezichtagenda AFM-</a:t>
            </a:r>
            <a:r>
              <a:rPr lang="nl-NL" sz="2800" dirty="0" err="1">
                <a:solidFill>
                  <a:srgbClr val="453076"/>
                </a:solidFill>
                <a:latin typeface="Museo Sans 900" panose="02000000000000000000" pitchFamily="50" charset="0"/>
              </a:rPr>
              <a:t>pensioentoezicht</a:t>
            </a:r>
            <a:endParaRPr lang="nl-NL" sz="3600" dirty="0">
              <a:latin typeface="Museo Sans 900" panose="02000000000000000000" pitchFamily="50" charset="0"/>
            </a:endParaRP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2E46280E-EA4A-FE1A-3BB4-BBA1E6D5C6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4363"/>
          <a:stretch/>
        </p:blipFill>
        <p:spPr>
          <a:xfrm>
            <a:off x="590550" y="233460"/>
            <a:ext cx="647700" cy="428027"/>
          </a:xfrm>
          <a:prstGeom prst="rect">
            <a:avLst/>
          </a:prstGeom>
        </p:spPr>
      </p:pic>
      <p:sp>
        <p:nvSpPr>
          <p:cNvPr id="3" name="Rectangle 2">
            <a:hlinkClick r:id="rId4" action="ppaction://hlinksldjump"/>
            <a:extLst>
              <a:ext uri="{FF2B5EF4-FFF2-40B4-BE49-F238E27FC236}">
                <a16:creationId xmlns:a16="http://schemas.microsoft.com/office/drawing/2014/main" id="{4073DC9E-E180-37E2-AB8A-84290390E22B}"/>
              </a:ext>
            </a:extLst>
          </p:cNvPr>
          <p:cNvSpPr/>
          <p:nvPr/>
        </p:nvSpPr>
        <p:spPr>
          <a:xfrm>
            <a:off x="590550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i="0" u="none" strike="noStrike" kern="1200" noProof="0" dirty="0">
                <a:solidFill>
                  <a:schemeClr val="bg1"/>
                </a:solidFill>
                <a:effectLst/>
                <a:latin typeface="Museo Sans 300" panose="02000000000000000000" pitchFamily="50" charset="0"/>
                <a:ea typeface="DotumChe" panose="020B0503020000020004" pitchFamily="49" charset="-127"/>
              </a:rPr>
              <a:t>Events</a:t>
            </a:r>
          </a:p>
        </p:txBody>
      </p:sp>
      <p:sp>
        <p:nvSpPr>
          <p:cNvPr id="5" name="Rectangle 4">
            <a:hlinkClick r:id="rId5" action="ppaction://hlinksldjump"/>
            <a:extLst>
              <a:ext uri="{FF2B5EF4-FFF2-40B4-BE49-F238E27FC236}">
                <a16:creationId xmlns:a16="http://schemas.microsoft.com/office/drawing/2014/main" id="{486AAEBF-E4BB-B9C5-2756-72834D9D1CF5}"/>
              </a:ext>
            </a:extLst>
          </p:cNvPr>
          <p:cNvSpPr/>
          <p:nvPr/>
        </p:nvSpPr>
        <p:spPr>
          <a:xfrm>
            <a:off x="721995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Communicatieplan</a:t>
            </a:r>
          </a:p>
        </p:txBody>
      </p:sp>
      <p:sp>
        <p:nvSpPr>
          <p:cNvPr id="6" name="Rectangle 5">
            <a:hlinkClick r:id="rId6" action="ppaction://hlinksldjump"/>
            <a:extLst>
              <a:ext uri="{FF2B5EF4-FFF2-40B4-BE49-F238E27FC236}">
                <a16:creationId xmlns:a16="http://schemas.microsoft.com/office/drawing/2014/main" id="{754D1558-6DB7-2416-CF50-D6E9725CB584}"/>
              </a:ext>
            </a:extLst>
          </p:cNvPr>
          <p:cNvSpPr/>
          <p:nvPr/>
        </p:nvSpPr>
        <p:spPr>
          <a:xfrm>
            <a:off x="5012292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komende toezichtactiviteiten</a:t>
            </a:r>
          </a:p>
        </p:txBody>
      </p:sp>
      <p:sp>
        <p:nvSpPr>
          <p:cNvPr id="9" name="Rectangle 8">
            <a:hlinkClick r:id="rId7" action="ppaction://hlinksldjump"/>
            <a:extLst>
              <a:ext uri="{FF2B5EF4-FFF2-40B4-BE49-F238E27FC236}">
                <a16:creationId xmlns:a16="http://schemas.microsoft.com/office/drawing/2014/main" id="{E9AE5C54-3773-D62C-818E-DCAFA842F0A3}"/>
              </a:ext>
            </a:extLst>
          </p:cNvPr>
          <p:cNvSpPr/>
          <p:nvPr/>
        </p:nvSpPr>
        <p:spPr>
          <a:xfrm>
            <a:off x="2801421" y="860400"/>
            <a:ext cx="2170629" cy="733425"/>
          </a:xfrm>
          <a:prstGeom prst="rect">
            <a:avLst/>
          </a:prstGeom>
          <a:solidFill>
            <a:srgbClr val="9074A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Lopende</a:t>
            </a:r>
            <a:r>
              <a:rPr lang="nl-NL" sz="1600" dirty="0">
                <a:latin typeface="Museo Sans 300" panose="02000000000000000000" pitchFamily="50" charset="0"/>
              </a:rPr>
              <a:t> </a:t>
            </a:r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toezichtactiviteiten</a:t>
            </a:r>
          </a:p>
        </p:txBody>
      </p:sp>
      <p:sp>
        <p:nvSpPr>
          <p:cNvPr id="10" name="Rectangle 9">
            <a:hlinkClick r:id="rId8" action="ppaction://hlinksldjump"/>
            <a:extLst>
              <a:ext uri="{FF2B5EF4-FFF2-40B4-BE49-F238E27FC236}">
                <a16:creationId xmlns:a16="http://schemas.microsoft.com/office/drawing/2014/main" id="{AC75F941-696E-7EA0-2416-E11D6C79BCEA}"/>
              </a:ext>
            </a:extLst>
          </p:cNvPr>
          <p:cNvSpPr/>
          <p:nvPr/>
        </p:nvSpPr>
        <p:spPr>
          <a:xfrm>
            <a:off x="9430821" y="860400"/>
            <a:ext cx="2170629" cy="733425"/>
          </a:xfrm>
          <a:prstGeom prst="rect">
            <a:avLst/>
          </a:prstGeom>
          <a:solidFill>
            <a:srgbClr val="45156C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Direct</a:t>
            </a:r>
          </a:p>
          <a:p>
            <a:pPr algn="ctr"/>
            <a:r>
              <a:rPr lang="nl-NL" sz="1600" b="1" dirty="0">
                <a:solidFill>
                  <a:schemeClr val="bg1"/>
                </a:solidFill>
                <a:latin typeface="Museo Sans 300" panose="02000000000000000000" pitchFamily="50" charset="0"/>
                <a:ea typeface="DotumChe" panose="020B0503020000020004" pitchFamily="49" charset="-127"/>
              </a:rPr>
              <a:t>aanmelde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778071-90E7-7132-48AE-E005E2FB28CD}"/>
              </a:ext>
            </a:extLst>
          </p:cNvPr>
          <p:cNvSpPr/>
          <p:nvPr/>
        </p:nvSpPr>
        <p:spPr>
          <a:xfrm>
            <a:off x="590550" y="2468376"/>
            <a:ext cx="2734424" cy="513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6 juni 202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84FABF-27CA-F44E-25BB-59DD44AA1801}"/>
              </a:ext>
            </a:extLst>
          </p:cNvPr>
          <p:cNvSpPr/>
          <p:nvPr/>
        </p:nvSpPr>
        <p:spPr>
          <a:xfrm>
            <a:off x="3452880" y="2456196"/>
            <a:ext cx="8136314" cy="537384"/>
          </a:xfrm>
          <a:prstGeom prst="rect">
            <a:avLst/>
          </a:prstGeom>
          <a:solidFill>
            <a:srgbClr val="C5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AFM </a:t>
            </a:r>
            <a:r>
              <a:rPr lang="nl-NL" sz="1600" dirty="0" err="1">
                <a:solidFill>
                  <a:srgbClr val="453076"/>
                </a:solidFill>
                <a:latin typeface="Museo Sans 500" panose="02000000000000000000" pitchFamily="50" charset="0"/>
              </a:rPr>
              <a:t>Pensioenevent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(A’dam)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meld je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er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aan</a:t>
            </a:r>
          </a:p>
        </p:txBody>
      </p:sp>
      <p:sp>
        <p:nvSpPr>
          <p:cNvPr id="17" name="Footer Placeholder 10">
            <a:extLst>
              <a:ext uri="{FF2B5EF4-FFF2-40B4-BE49-F238E27FC236}">
                <a16:creationId xmlns:a16="http://schemas.microsoft.com/office/drawing/2014/main" id="{F22717E9-8647-3077-47E5-8D9E515B6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01450" y="6527475"/>
            <a:ext cx="7200000" cy="201083"/>
          </a:xfrm>
        </p:spPr>
        <p:txBody>
          <a:bodyPr/>
          <a:lstStyle/>
          <a:p>
            <a:pPr algn="r"/>
            <a:r>
              <a:rPr lang="nl-NL" dirty="0"/>
              <a:t>Editie 24 april 202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607646-8363-030D-1F3C-9E5D16DA8CC1}"/>
              </a:ext>
            </a:extLst>
          </p:cNvPr>
          <p:cNvSpPr/>
          <p:nvPr/>
        </p:nvSpPr>
        <p:spPr>
          <a:xfrm>
            <a:off x="590550" y="3096576"/>
            <a:ext cx="2734424" cy="513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>
                <a:latin typeface="Museo Sans 500" panose="02000000000000000000" pitchFamily="50" charset="0"/>
              </a:rPr>
              <a:t>Nazomer 2024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A1BC524-154D-1D5E-29F8-B30148068BAC}"/>
              </a:ext>
            </a:extLst>
          </p:cNvPr>
          <p:cNvSpPr/>
          <p:nvPr/>
        </p:nvSpPr>
        <p:spPr>
          <a:xfrm>
            <a:off x="3452880" y="3094800"/>
            <a:ext cx="8136314" cy="514800"/>
          </a:xfrm>
          <a:prstGeom prst="rect">
            <a:avLst/>
          </a:prstGeom>
          <a:solidFill>
            <a:srgbClr val="C5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600" dirty="0" err="1">
                <a:solidFill>
                  <a:srgbClr val="453076"/>
                </a:solidFill>
                <a:latin typeface="Museo Sans 500" panose="02000000000000000000" pitchFamily="50" charset="0"/>
              </a:rPr>
              <a:t>Rondetafel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communicatieplan </a:t>
            </a:r>
            <a:r>
              <a:rPr lang="nl-NL" sz="1600" b="1" dirty="0">
                <a:solidFill>
                  <a:srgbClr val="453076"/>
                </a:solidFill>
              </a:rPr>
              <a:t>→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geef 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er</a:t>
            </a:r>
            <a:r>
              <a:rPr lang="nl-NL" sz="1600" dirty="0">
                <a:solidFill>
                  <a:srgbClr val="453076"/>
                </a:solidFill>
                <a:latin typeface="Museo Sans 500" panose="02000000000000000000" pitchFamily="50" charset="0"/>
              </a:rPr>
              <a:t> je belangstelling door </a:t>
            </a:r>
          </a:p>
        </p:txBody>
      </p:sp>
    </p:spTree>
    <p:extLst>
      <p:ext uri="{BB962C8B-B14F-4D97-AF65-F5344CB8AC3E}">
        <p14:creationId xmlns:p14="http://schemas.microsoft.com/office/powerpoint/2010/main" val="354381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Kleuren AFM PP">
      <a:dk1>
        <a:srgbClr val="000000"/>
      </a:dk1>
      <a:lt1>
        <a:srgbClr val="FFFFFF"/>
      </a:lt1>
      <a:dk2>
        <a:srgbClr val="45156C"/>
      </a:dk2>
      <a:lt2>
        <a:srgbClr val="FFFFFF"/>
      </a:lt2>
      <a:accent1>
        <a:srgbClr val="45156C"/>
      </a:accent1>
      <a:accent2>
        <a:srgbClr val="9074A8"/>
      </a:accent2>
      <a:accent3>
        <a:srgbClr val="DAD1E2"/>
      </a:accent3>
      <a:accent4>
        <a:srgbClr val="007CCD"/>
      </a:accent4>
      <a:accent5>
        <a:srgbClr val="42B2E2"/>
      </a:accent5>
      <a:accent6>
        <a:srgbClr val="C5E5F6"/>
      </a:accent6>
      <a:hlink>
        <a:srgbClr val="000000"/>
      </a:hlink>
      <a:folHlink>
        <a:srgbClr val="000000"/>
      </a:folHlink>
    </a:clrScheme>
    <a:fontScheme name="Lettertypen AFM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aars leg">
      <a:srgbClr val="45156C"/>
    </a:custClr>
    <a:custClr name="paars 2">
      <a:srgbClr val="9074A8"/>
    </a:custClr>
    <a:custClr name="paars 3">
      <a:srgbClr val="DAD1E2"/>
    </a:custClr>
    <a:custClr name="blauw">
      <a:srgbClr val="007CCD"/>
    </a:custClr>
    <a:custClr name="blauw02">
      <a:srgbClr val="42B2E2"/>
    </a:custClr>
    <a:custClr name="blauw03">
      <a:srgbClr val="C5E5F6"/>
    </a:custClr>
    <a:custClr name="groen">
      <a:srgbClr val="00D6B5"/>
    </a:custClr>
    <a:custClr name="groen02">
      <a:srgbClr val="84E7D3"/>
    </a:custClr>
    <a:custClr name="groen lijn grafiek 1,3pt">
      <a:srgbClr val="D8F7F0"/>
    </a:custClr>
    <a:custClr name="lijn grafiek 0,3pt">
      <a:srgbClr val="CDC7DA"/>
    </a:custClr>
  </a:custClrLst>
  <a:extLst>
    <a:ext uri="{05A4C25C-085E-4340-85A3-A5531E510DB2}">
      <thm15:themeFamily xmlns:thm15="http://schemas.microsoft.com/office/thememl/2012/main" name="Theme1" id="{EC956835-5957-415D-86FF-E0C645B5F8C1}" vid="{E57CD75E-7401-4C56-A479-D8127D30CFA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L_subfolder_1 xmlns="936c9f6d-703f-4492-b10b-5967c53212d1" xsi:nil="true"/>
    <TaxCatchAll xmlns="936c9f6d-703f-4492-b10b-5967c53212d1">
      <Value>1148</Value>
    </TaxCatchAll>
    <OrigineleLLLocatie xmlns="936c9f6d-703f-4492-b10b-5967c53212d1" xsi:nil="true"/>
    <OrigineleLLObjectId xmlns="936c9f6d-703f-4492-b10b-5967c53212d1" xsi:nil="true"/>
    <Relatienummer xmlns="936c9f6d-703f-4492-b10b-5967c53212d1" xsi:nil="true"/>
    <OrigineleLLFolder xmlns="936c9f6d-703f-4492-b10b-5967c53212d1" xsi:nil="true"/>
    <LL_subfolder_5 xmlns="936c9f6d-703f-4492-b10b-5967c53212d1" xsi:nil="true"/>
    <TaxKeywordTaxHTField xmlns="936c9f6d-703f-4492-b10b-5967c53212d1">
      <Terms xmlns="http://schemas.microsoft.com/office/infopath/2007/PartnerControls"/>
    </TaxKeywordTaxHTField>
    <LL_subfolder_4 xmlns="936c9f6d-703f-4492-b10b-5967c53212d1" xsi:nil="true"/>
    <vergunningnummer xmlns="936c9f6d-703f-4492-b10b-5967c53212d1" xsi:nil="true"/>
    <OmschrijvingNote xmlns="936c9f6d-703f-4492-b10b-5967c53212d1" xsi:nil="true"/>
    <Betreft xmlns="936c9f6d-703f-4492-b10b-5967c53212d1" xsi:nil="true"/>
    <OrganisatieonderdeelHTField0 xmlns="936c9f6d-703f-4492-b10b-5967c53212d1">
      <Terms xmlns="http://schemas.microsoft.com/office/infopath/2007/PartnerControls"/>
    </OrganisatieonderdeelHTField0>
    <ProcesHTField0 xmlns="936c9f6d-703f-4492-b10b-5967c53212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VP</TermName>
          <TermId xmlns="http://schemas.microsoft.com/office/infopath/2007/PartnerControls">8b5c1d6b-b2dc-40d6-b60c-e4b56b7d8564</TermId>
        </TermInfo>
      </Terms>
    </ProcesHTField0>
    <LL_subfolder_3 xmlns="936c9f6d-703f-4492-b10b-5967c53212d1" xsi:nil="true"/>
    <DocumenttypeHTField0 xmlns="936c9f6d-703f-4492-b10b-5967c53212d1">
      <Terms xmlns="http://schemas.microsoft.com/office/infopath/2007/PartnerControls"/>
    </DocumenttypeHTField0>
    <Opsteldatum xmlns="936c9f6d-703f-4492-b10b-5967c53212d1" xsi:nil="true"/>
    <ToezichtstaakHTField0 xmlns="936c9f6d-703f-4492-b10b-5967c53212d1">
      <Terms xmlns="http://schemas.microsoft.com/office/infopath/2007/PartnerControls"/>
    </ToezichtstaakHTField0>
    <Geadresseerde xmlns="936c9f6d-703f-4492-b10b-5967c53212d1" xsi:nil="true"/>
    <Debiteurnummer xmlns="936c9f6d-703f-4492-b10b-5967c53212d1" xsi:nil="true"/>
    <Referentie xmlns="936c9f6d-703f-4492-b10b-5967c53212d1" xsi:nil="true"/>
    <LL_subfolder_2 xmlns="936c9f6d-703f-4492-b10b-5967c53212d1" xsi:nil="true"/>
    <Jaar xmlns="936c9f6d-703f-4492-b10b-5967c53212d1" xsi:nil="true"/>
    <KopieAan xmlns="936c9f6d-703f-4492-b10b-5967c53212d1" xsi:nil="true"/>
    <KanaalHTField0 xmlns="936c9f6d-703f-4492-b10b-5967c53212d1">
      <Terms xmlns="http://schemas.microsoft.com/office/infopath/2007/PartnerControls"/>
    </KanaalHTField0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Algemeen document" ma:contentTypeID="0x010100AF3C3E63A8E348D0B83574E1B1F453E5003929ED3A8D04456685ACF4C22313EE1B00B86F0861170BFD4986AF180CDC46B21C" ma:contentTypeVersion="13" ma:contentTypeDescription="Een nieuw document maken." ma:contentTypeScope="" ma:versionID="43e1a270a30df92b501c1393ceef8e8f">
  <xsd:schema xmlns:xsd="http://www.w3.org/2001/XMLSchema" xmlns:xs="http://www.w3.org/2001/XMLSchema" xmlns:p="http://schemas.microsoft.com/office/2006/metadata/properties" xmlns:ns1="http://schemas.microsoft.com/sharepoint/v3" xmlns:ns3="936c9f6d-703f-4492-b10b-5967c53212d1" targetNamespace="http://schemas.microsoft.com/office/2006/metadata/properties" ma:root="true" ma:fieldsID="7ff6af56a23533a8473023fba53d0357" ns1:_="" ns3:_="">
    <xsd:import namespace="http://schemas.microsoft.com/sharepoint/v3"/>
    <xsd:import namespace="936c9f6d-703f-4492-b10b-5967c53212d1"/>
    <xsd:element name="properties">
      <xsd:complexType>
        <xsd:sequence>
          <xsd:element name="documentManagement">
            <xsd:complexType>
              <xsd:all>
                <xsd:element ref="ns3:Opsteldatum" minOccurs="0"/>
                <xsd:element ref="ns3:Jaar" minOccurs="0"/>
                <xsd:element ref="ns3:Geadresseerde" minOccurs="0"/>
                <xsd:element ref="ns3:Relatienummer" minOccurs="0"/>
                <xsd:element ref="ns3:vergunningnummer" minOccurs="0"/>
                <xsd:element ref="ns3:Debiteurnummer" minOccurs="0"/>
                <xsd:element ref="ns3:Referentie" minOccurs="0"/>
                <xsd:element ref="ns3:OmschrijvingNote" minOccurs="0"/>
                <xsd:element ref="ns3:Betreft" minOccurs="0"/>
                <xsd:element ref="ns3:KopieAan" minOccurs="0"/>
                <xsd:element ref="ns3:OrigineleLLLocatie" minOccurs="0"/>
                <xsd:element ref="ns3:OrigineleLLObjectId" minOccurs="0"/>
                <xsd:element ref="ns3:OrigineleLLFolder" minOccurs="0"/>
                <xsd:element ref="ns3:LL_subfolder_1" minOccurs="0"/>
                <xsd:element ref="ns3:LL_subfolder_2" minOccurs="0"/>
                <xsd:element ref="ns3:LL_subfolder_3" minOccurs="0"/>
                <xsd:element ref="ns3:LL_subfolder_4" minOccurs="0"/>
                <xsd:element ref="ns3:LL_subfolder_5" minOccurs="0"/>
                <xsd:element ref="ns3:ToezichtstaakHTField0" minOccurs="0"/>
                <xsd:element ref="ns3:KanaalHTField0" minOccurs="0"/>
                <xsd:element ref="ns3:OrganisatieonderdeelHTField0" minOccurs="0"/>
                <xsd:element ref="ns3:ProcesHTField0" minOccurs="0"/>
                <xsd:element ref="ns3:TaxCatchAllLabel" minOccurs="0"/>
                <xsd:element ref="ns3:TaxCatchAll" minOccurs="0"/>
                <xsd:element ref="ns3:TaxKeywordTaxHTField" minOccurs="0"/>
                <xsd:element ref="ns3:DocumenttypeHTField0" minOccurs="0"/>
                <xsd:element ref="ns1:_dlc_Exemp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41" nillable="true" ma:displayName="Van beleid uitgesloten" ma:hidden="true" ma:internalName="_dlc_Exempt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6c9f6d-703f-4492-b10b-5967c53212d1" elementFormDefault="qualified">
    <xsd:import namespace="http://schemas.microsoft.com/office/2006/documentManagement/types"/>
    <xsd:import namespace="http://schemas.microsoft.com/office/infopath/2007/PartnerControls"/>
    <xsd:element name="Opsteldatum" ma:index="7" nillable="true" ma:displayName="Opsteldatum" ma:format="DateOnly" ma:internalName="Opsteldatum" ma:readOnly="false">
      <xsd:simpleType>
        <xsd:restriction base="dms:DateTime"/>
      </xsd:simpleType>
    </xsd:element>
    <xsd:element name="Jaar" ma:index="8" nillable="true" ma:displayName="Jaar" ma:internalName="Jaar">
      <xsd:simpleType>
        <xsd:restriction base="dms:Text">
          <xsd:maxLength value="4"/>
        </xsd:restriction>
      </xsd:simpleType>
    </xsd:element>
    <xsd:element name="Geadresseerde" ma:index="10" nillable="true" ma:displayName="Geadresseerde" ma:internalName="Geadresseerde" ma:readOnly="false">
      <xsd:simpleType>
        <xsd:restriction base="dms:Note">
          <xsd:maxLength value="255"/>
        </xsd:restriction>
      </xsd:simpleType>
    </xsd:element>
    <xsd:element name="Relatienummer" ma:index="11" nillable="true" ma:displayName="Relatienummer" ma:description="Meerdere relatienummers scheiden door middel van een puntkomma." ma:internalName="Relatienummer" ma:readOnly="false">
      <xsd:simpleType>
        <xsd:restriction base="dms:Text">
          <xsd:maxLength value="255"/>
        </xsd:restriction>
      </xsd:simpleType>
    </xsd:element>
    <xsd:element name="vergunningnummer" ma:index="12" nillable="true" ma:displayName="Vergunningnummer" ma:internalName="vergunningnummer" ma:readOnly="false">
      <xsd:simpleType>
        <xsd:restriction base="dms:Text"/>
      </xsd:simpleType>
    </xsd:element>
    <xsd:element name="Debiteurnummer" ma:index="13" nillable="true" ma:displayName="Debiteurnummer" ma:internalName="Debiteurnummer" ma:readOnly="false">
      <xsd:simpleType>
        <xsd:restriction base="dms:Text"/>
      </xsd:simpleType>
    </xsd:element>
    <xsd:element name="Referentie" ma:index="14" nillable="true" ma:displayName="Referentie" ma:internalName="Referentie" ma:readOnly="false">
      <xsd:simpleType>
        <xsd:restriction base="dms:Text"/>
      </xsd:simpleType>
    </xsd:element>
    <xsd:element name="OmschrijvingNote" ma:index="15" nillable="true" ma:displayName="Omschrijving" ma:internalName="OmschrijvingNote" ma:readOnly="false">
      <xsd:simpleType>
        <xsd:restriction base="dms:Note">
          <xsd:maxLength value="255"/>
        </xsd:restriction>
      </xsd:simpleType>
    </xsd:element>
    <xsd:element name="Betreft" ma:index="17" nillable="true" ma:displayName="Betreft" ma:internalName="Betreft" ma:readOnly="false">
      <xsd:simpleType>
        <xsd:restriction base="dms:Text"/>
      </xsd:simpleType>
    </xsd:element>
    <xsd:element name="KopieAan" ma:index="18" nillable="true" ma:displayName="Kopie aan" ma:internalName="KopieAan" ma:readOnly="false">
      <xsd:simpleType>
        <xsd:restriction base="dms:Note">
          <xsd:maxLength value="255"/>
        </xsd:restriction>
      </xsd:simpleType>
    </xsd:element>
    <xsd:element name="OrigineleLLLocatie" ma:index="19" nillable="true" ma:displayName="Originele LL Locatie" ma:internalName="OrigineleLLLocatie" ma:readOnly="false">
      <xsd:simpleType>
        <xsd:restriction base="dms:Note"/>
      </xsd:simpleType>
    </xsd:element>
    <xsd:element name="OrigineleLLObjectId" ma:index="20" nillable="true" ma:displayName="Originele LL objectid" ma:internalName="OrigineleLLObjectId" ma:readOnly="false">
      <xsd:simpleType>
        <xsd:restriction base="dms:Text"/>
      </xsd:simpleType>
    </xsd:element>
    <xsd:element name="OrigineleLLFolder" ma:index="21" nillable="true" ma:displayName="Originele LL folder" ma:internalName="OrigineleLLFolder" ma:readOnly="false">
      <xsd:simpleType>
        <xsd:restriction base="dms:Text"/>
      </xsd:simpleType>
    </xsd:element>
    <xsd:element name="LL_subfolder_1" ma:index="22" nillable="true" ma:displayName="LL subfolder 1" ma:internalName="LL_subfolder_1" ma:readOnly="false">
      <xsd:simpleType>
        <xsd:restriction base="dms:Text">
          <xsd:maxLength value="255"/>
        </xsd:restriction>
      </xsd:simpleType>
    </xsd:element>
    <xsd:element name="LL_subfolder_2" ma:index="23" nillable="true" ma:displayName="LL subfolder 2" ma:internalName="LL_subfolder_2" ma:readOnly="false">
      <xsd:simpleType>
        <xsd:restriction base="dms:Text"/>
      </xsd:simpleType>
    </xsd:element>
    <xsd:element name="LL_subfolder_3" ma:index="24" nillable="true" ma:displayName="LL subfolder 3" ma:internalName="LL_subfolder_3" ma:readOnly="false">
      <xsd:simpleType>
        <xsd:restriction base="dms:Text"/>
      </xsd:simpleType>
    </xsd:element>
    <xsd:element name="LL_subfolder_4" ma:index="25" nillable="true" ma:displayName="LL subfolder 4" ma:internalName="LL_subfolder_4" ma:readOnly="false">
      <xsd:simpleType>
        <xsd:restriction base="dms:Text"/>
      </xsd:simpleType>
    </xsd:element>
    <xsd:element name="LL_subfolder_5" ma:index="26" nillable="true" ma:displayName="LL subfolder 5" ma:internalName="LL_subfolder_5" ma:readOnly="false">
      <xsd:simpleType>
        <xsd:restriction base="dms:Text"/>
      </xsd:simpleType>
    </xsd:element>
    <xsd:element name="ToezichtstaakHTField0" ma:index="27" nillable="true" ma:taxonomy="true" ma:internalName="ToezichtstaakTaxHTField0" ma:taxonomyFieldName="Toezichtstaak" ma:displayName="Toezichtstaak" ma:readOnly="false" ma:default="" ma:fieldId="{713f5d9e-51e9-4a7c-9bff-c27fd59a3be3}" ma:sspId="1a17d7f3-a02c-4e88-b87b-9e831c62902c" ma:termSetId="6e520f14-f60a-4e68-8b6d-6a1e18369352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KanaalHTField0" ma:index="28" nillable="true" ma:taxonomy="true" ma:internalName="KanaalTaxHTField0" ma:taxonomyFieldName="Kanaal" ma:displayName="Kanaal" ma:readOnly="false" ma:fieldId="{be854940-bd99-479f-802b-c0c3789748bf}" ma:sspId="1a17d7f3-a02c-4e88-b87b-9e831c62902c" ma:termSetId="5bb6c286-dbb6-4c25-b2ca-12fdc7485cb0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OrganisatieonderdeelHTField0" ma:index="29" nillable="true" ma:taxonomy="true" ma:internalName="OrganisatieonderdeelTaxHTField0" ma:taxonomyFieldName="Organisatieonderdeel" ma:displayName="Organisatie onderdeel" ma:readOnly="false" ma:default="" ma:fieldId="{0a539a65-524b-4bd0-8108-3755f7372a81}" ma:sspId="1a17d7f3-a02c-4e88-b87b-9e831c62902c" ma:termSetId="94fea994-e0b0-4b70-96b8-4fc22f8611b5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ProcesHTField0" ma:index="32" nillable="true" ma:taxonomy="true" ma:internalName="ProcesTaxHTField0" ma:taxonomyFieldName="Proces" ma:displayName="Proces" ma:readOnly="false" ma:default="" ma:fieldId="{73969141-b825-401d-b68b-4fed00d26698}" ma:sspId="1a17d7f3-a02c-4e88-b87b-9e831c62902c" ma:termSetId="9cf31780-5a2d-4a89-a874-4589c950fb6d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Label" ma:index="35" nillable="true" ma:displayName="Taxonomy Catch All Column1" ma:description="" ma:hidden="true" ma:list="{4ed00822-b20d-4cb2-84f9-4c62d154141f}" ma:internalName="TaxCatchAllLabel" ma:readOnly="true" ma:showField="CatchAllDataLabel" ma:web="e9a847eb-525a-40cd-b7bf-d7b23c6ca7a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38" nillable="true" ma:displayName="Taxonomy Catch All Column" ma:description="" ma:hidden="true" ma:list="{4ed00822-b20d-4cb2-84f9-4c62d154141f}" ma:internalName="TaxCatchAll" ma:showField="CatchAllData" ma:web="e9a847eb-525a-40cd-b7bf-d7b23c6ca7a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9" nillable="true" ma:taxonomy="true" ma:internalName="TaxKeywordTaxHTField" ma:taxonomyFieldName="TaxKeyword" ma:displayName="Ondernemingstrefwoorden" ma:fieldId="{23f27201-bee3-471e-b2e7-b64fd8b7ca38}" ma:taxonomyMulti="true" ma:sspId="1a17d7f3-a02c-4e88-b87b-9e831c62902c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DocumenttypeHTField0" ma:index="40" nillable="true" ma:taxonomy="true" ma:internalName="DocumenttypeTaxHTField0" ma:taxonomyFieldName="Documenttype" ma:displayName="Document type" ma:readOnly="false" ma:fieldId="{6d1e6da9-9114-43e8-994f-c6d34dcc13df}" ma:sspId="1a17d7f3-a02c-4e88-b87b-9e831c62902c" ma:termSetId="95f02a91-1e12-4e2a-afe4-67746b611386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" ma:displayName="Auteur"/>
        <xsd:element ref="dcterms:created" minOccurs="0" maxOccurs="1"/>
        <xsd:element ref="dc:identifier" minOccurs="0" maxOccurs="1"/>
        <xsd:element name="contentType" minOccurs="0" maxOccurs="1" type="xsd:string" ma:index="33" ma:displayName="Inhoudstype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DEA79C5-E09B-4F01-894F-848F042C7A0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8318487-2715-48A4-B3C3-7C9504C8F07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30D38A-33D8-4C4F-BC2E-407353F7DAA3}">
  <ds:schemaRefs>
    <ds:schemaRef ds:uri="http://schemas.microsoft.com/office/2006/metadata/properties"/>
    <ds:schemaRef ds:uri="936c9f6d-703f-4492-b10b-5967c53212d1"/>
    <ds:schemaRef ds:uri="http://schemas.microsoft.com/office/2006/documentManagement/types"/>
    <ds:schemaRef ds:uri="http://schemas.microsoft.com/sharepoint/v3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1237C1AA-37E3-4DC1-9F94-0D6AC7F176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36c9f6d-703f-4492-b10b-5967c53212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4908</TotalTime>
  <Words>274</Words>
  <Application>Microsoft Office PowerPoint</Application>
  <PresentationFormat>Widescreen</PresentationFormat>
  <Paragraphs>9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Museo Sans 300</vt:lpstr>
      <vt:lpstr>Museo Sans 500</vt:lpstr>
      <vt:lpstr>Museo Sans 900</vt:lpstr>
      <vt:lpstr>Theme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uitje, Gwendolyn</dc:creator>
  <cp:keywords/>
  <cp:lastModifiedBy>Smit, AnneMarie</cp:lastModifiedBy>
  <cp:revision>22</cp:revision>
  <dcterms:created xsi:type="dcterms:W3CDTF">2021-11-25T15:10:51Z</dcterms:created>
  <dcterms:modified xsi:type="dcterms:W3CDTF">2024-04-23T14:2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C3E63A8E348D0B83574E1B1F453E5003929ED3A8D04456685ACF4C22313EE1B00B86F0861170BFD4986AF180CDC46B21C</vt:lpwstr>
  </property>
  <property fmtid="{D5CDD505-2E9C-101B-9397-08002B2CF9AE}" pid="3" name="Proces">
    <vt:lpwstr>1148;#VP|8b5c1d6b-b2dc-40d6-b60c-e4b56b7d8564</vt:lpwstr>
  </property>
  <property fmtid="{D5CDD505-2E9C-101B-9397-08002B2CF9AE}" pid="4" name="_dlc_policyId">
    <vt:lpwstr/>
  </property>
  <property fmtid="{D5CDD505-2E9C-101B-9397-08002B2CF9AE}" pid="5" name="ItemRetentionFormula">
    <vt:lpwstr/>
  </property>
  <property fmtid="{D5CDD505-2E9C-101B-9397-08002B2CF9AE}" pid="6" name="_dlc_DocId">
    <vt:lpwstr>AFMPROJ16-20-24899</vt:lpwstr>
  </property>
  <property fmtid="{D5CDD505-2E9C-101B-9397-08002B2CF9AE}" pid="7" name="_dlc_DocIdUrl">
    <vt:lpwstr>https://dms.stelan.nl/projecten/dashboard/_layouts/15/DocIdRedir.aspx?ID=AFMPROJ16-20-24899, AFMPROJ16-20-24899</vt:lpwstr>
  </property>
  <property fmtid="{D5CDD505-2E9C-101B-9397-08002B2CF9AE}" pid="8" name="_dlc_DocIdItemGuid">
    <vt:lpwstr>d3fb5365-a884-49b6-9f47-86e8771a50e6</vt:lpwstr>
  </property>
  <property fmtid="{D5CDD505-2E9C-101B-9397-08002B2CF9AE}" pid="9" name="DossierstatusTaxHTField0">
    <vt:lpwstr/>
  </property>
  <property fmtid="{D5CDD505-2E9C-101B-9397-08002B2CF9AE}" pid="10" name="TaxKeyword">
    <vt:lpwstr/>
  </property>
  <property fmtid="{D5CDD505-2E9C-101B-9397-08002B2CF9AE}" pid="11" name="Kanaal">
    <vt:lpwstr/>
  </property>
  <property fmtid="{D5CDD505-2E9C-101B-9397-08002B2CF9AE}" pid="12" name="Toezichtstaak">
    <vt:lpwstr/>
  </property>
  <property fmtid="{D5CDD505-2E9C-101B-9397-08002B2CF9AE}" pid="13" name="WetsartikelRegelingTaxHTField0">
    <vt:lpwstr/>
  </property>
  <property fmtid="{D5CDD505-2E9C-101B-9397-08002B2CF9AE}" pid="14" name="WetsartikelLidTaxHTField0">
    <vt:lpwstr/>
  </property>
  <property fmtid="{D5CDD505-2E9C-101B-9397-08002B2CF9AE}" pid="15" name="Zaaktype">
    <vt:lpwstr/>
  </property>
  <property fmtid="{D5CDD505-2E9C-101B-9397-08002B2CF9AE}" pid="16" name="ProjectThemaTaxHTField0">
    <vt:lpwstr/>
  </property>
  <property fmtid="{D5CDD505-2E9C-101B-9397-08002B2CF9AE}" pid="17" name="Type_FV">
    <vt:lpwstr/>
  </property>
  <property fmtid="{D5CDD505-2E9C-101B-9397-08002B2CF9AE}" pid="18" name="Documenttype">
    <vt:lpwstr/>
  </property>
  <property fmtid="{D5CDD505-2E9C-101B-9397-08002B2CF9AE}" pid="19" name="ProjectThema">
    <vt:lpwstr/>
  </property>
  <property fmtid="{D5CDD505-2E9C-101B-9397-08002B2CF9AE}" pid="20" name="Verzendwijze">
    <vt:lpwstr/>
  </property>
  <property fmtid="{D5CDD505-2E9C-101B-9397-08002B2CF9AE}" pid="21" name="Organisatieonderdeel">
    <vt:lpwstr/>
  </property>
  <property fmtid="{D5CDD505-2E9C-101B-9397-08002B2CF9AE}" pid="22" name="WetsartikelArtikelTaxHTField0">
    <vt:lpwstr/>
  </property>
  <property fmtid="{D5CDD505-2E9C-101B-9397-08002B2CF9AE}" pid="23" name="Type_FVTaxHTField0">
    <vt:lpwstr/>
  </property>
  <property fmtid="{D5CDD505-2E9C-101B-9397-08002B2CF9AE}" pid="24" name="VerzendwijzeTaxHTField0">
    <vt:lpwstr/>
  </property>
  <property fmtid="{D5CDD505-2E9C-101B-9397-08002B2CF9AE}" pid="25" name="Dossierstatus">
    <vt:lpwstr/>
  </property>
  <property fmtid="{D5CDD505-2E9C-101B-9397-08002B2CF9AE}" pid="26" name="BeslisserTaxHTField0">
    <vt:lpwstr/>
  </property>
  <property fmtid="{D5CDD505-2E9C-101B-9397-08002B2CF9AE}" pid="27" name="WetsartikelArtikel">
    <vt:lpwstr/>
  </property>
  <property fmtid="{D5CDD505-2E9C-101B-9397-08002B2CF9AE}" pid="28" name="WetsartikelRegeling">
    <vt:lpwstr/>
  </property>
  <property fmtid="{D5CDD505-2E9C-101B-9397-08002B2CF9AE}" pid="29" name="WetsartikelLid">
    <vt:lpwstr/>
  </property>
  <property fmtid="{D5CDD505-2E9C-101B-9397-08002B2CF9AE}" pid="30" name="Beslisser">
    <vt:lpwstr/>
  </property>
  <property fmtid="{D5CDD505-2E9C-101B-9397-08002B2CF9AE}" pid="31" name="ZaaktypeTaxHTField0">
    <vt:lpwstr/>
  </property>
</Properties>
</file>